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19" r:id="rId5"/>
  </p:sldMasterIdLst>
  <p:notesMasterIdLst>
    <p:notesMasterId r:id="rId12"/>
  </p:notesMasterIdLst>
  <p:sldIdLst>
    <p:sldId id="474" r:id="rId6"/>
    <p:sldId id="497" r:id="rId7"/>
    <p:sldId id="496" r:id="rId8"/>
    <p:sldId id="498" r:id="rId9"/>
    <p:sldId id="499" r:id="rId10"/>
    <p:sldId id="500" r:id="rId11"/>
  </p:sldIdLst>
  <p:sldSz cx="12192000" cy="6858000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ABF9090-79B4-4732-A6DF-1FFDDAFC327E}">
          <p14:sldIdLst>
            <p14:sldId id="474"/>
            <p14:sldId id="497"/>
            <p14:sldId id="496"/>
            <p14:sldId id="498"/>
            <p14:sldId id="499"/>
            <p14:sldId id="500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8235"/>
    <a:srgbClr val="0070C0"/>
    <a:srgbClr val="008238"/>
    <a:srgbClr val="00B050"/>
    <a:srgbClr val="002060"/>
    <a:srgbClr val="696969"/>
    <a:srgbClr val="92D050"/>
    <a:srgbClr val="BF9000"/>
    <a:srgbClr val="A47D00"/>
    <a:srgbClr val="909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06" autoAdjust="0"/>
    <p:restoredTop sz="94660"/>
  </p:normalViewPr>
  <p:slideViewPr>
    <p:cSldViewPr snapToGrid="0">
      <p:cViewPr>
        <p:scale>
          <a:sx n="100" d="100"/>
          <a:sy n="100" d="100"/>
        </p:scale>
        <p:origin x="712" y="34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bauer, Izabela (Heidelberg) DEU" userId="S::izabela.gebauer@heidelbergcement.com::8e5bc227-390c-429c-98d2-d7330cd5c334" providerId="AD" clId="Web-{F24A64EC-A351-49DB-A1B5-E03775BFBDCE}"/>
    <pc:docChg chg="modSld">
      <pc:chgData name="Gebauer, Izabela (Heidelberg) DEU" userId="S::izabela.gebauer@heidelbergcement.com::8e5bc227-390c-429c-98d2-d7330cd5c334" providerId="AD" clId="Web-{F24A64EC-A351-49DB-A1B5-E03775BFBDCE}" dt="2019-08-29T12:49:48.286" v="4" actId="20577"/>
      <pc:docMkLst>
        <pc:docMk/>
      </pc:docMkLst>
    </pc:docChg>
  </pc:docChgLst>
  <pc:docChgLst>
    <pc:chgData name="Lentz, Dennis (Heidelberg) DEU" userId="S::dennis.lentz@heidelbergcement.com::bb274d03-c0d7-42e1-949b-0a0a9715b48b" providerId="AD" clId="Web-{53C8FBAC-2F26-4BFC-A9F2-D8C562078449}"/>
    <pc:docChg chg="modSld">
      <pc:chgData name="Lentz, Dennis (Heidelberg) DEU" userId="S::dennis.lentz@heidelbergcement.com::bb274d03-c0d7-42e1-949b-0a0a9715b48b" providerId="AD" clId="Web-{53C8FBAC-2F26-4BFC-A9F2-D8C562078449}" dt="2019-08-22T09:12:24.969" v="48" actId="1076"/>
      <pc:docMkLst>
        <pc:docMk/>
      </pc:docMkLst>
      <pc:sldChg chg="modSp">
        <pc:chgData name="Lentz, Dennis (Heidelberg) DEU" userId="S::dennis.lentz@heidelbergcement.com::bb274d03-c0d7-42e1-949b-0a0a9715b48b" providerId="AD" clId="Web-{53C8FBAC-2F26-4BFC-A9F2-D8C562078449}" dt="2019-08-22T09:10:27.781" v="5" actId="20577"/>
        <pc:sldMkLst>
          <pc:docMk/>
          <pc:sldMk cId="3128172551" sldId="475"/>
        </pc:sldMkLst>
        <pc:spChg chg="mod">
          <ac:chgData name="Lentz, Dennis (Heidelberg) DEU" userId="S::dennis.lentz@heidelbergcement.com::bb274d03-c0d7-42e1-949b-0a0a9715b48b" providerId="AD" clId="Web-{53C8FBAC-2F26-4BFC-A9F2-D8C562078449}" dt="2019-08-22T09:10:27.781" v="5" actId="20577"/>
          <ac:spMkLst>
            <pc:docMk/>
            <pc:sldMk cId="3128172551" sldId="475"/>
            <ac:spMk id="3" creationId="{00000000-0000-0000-0000-000000000000}"/>
          </ac:spMkLst>
        </pc:spChg>
      </pc:sldChg>
      <pc:sldChg chg="modSp">
        <pc:chgData name="Lentz, Dennis (Heidelberg) DEU" userId="S::dennis.lentz@heidelbergcement.com::bb274d03-c0d7-42e1-949b-0a0a9715b48b" providerId="AD" clId="Web-{53C8FBAC-2F26-4BFC-A9F2-D8C562078449}" dt="2019-08-22T09:12:24.969" v="48" actId="1076"/>
        <pc:sldMkLst>
          <pc:docMk/>
          <pc:sldMk cId="439333319" sldId="476"/>
        </pc:sldMkLst>
        <pc:grpChg chg="mod">
          <ac:chgData name="Lentz, Dennis (Heidelberg) DEU" userId="S::dennis.lentz@heidelbergcement.com::bb274d03-c0d7-42e1-949b-0a0a9715b48b" providerId="AD" clId="Web-{53C8FBAC-2F26-4BFC-A9F2-D8C562078449}" dt="2019-08-22T09:12:24.969" v="48" actId="1076"/>
          <ac:grpSpMkLst>
            <pc:docMk/>
            <pc:sldMk cId="439333319" sldId="476"/>
            <ac:grpSpMk id="13" creationId="{00000000-0000-0000-0000-000000000000}"/>
          </ac:grpSpMkLst>
        </pc:grpChg>
        <pc:cxnChg chg="mod">
          <ac:chgData name="Lentz, Dennis (Heidelberg) DEU" userId="S::dennis.lentz@heidelbergcement.com::bb274d03-c0d7-42e1-949b-0a0a9715b48b" providerId="AD" clId="Web-{53C8FBAC-2F26-4BFC-A9F2-D8C562078449}" dt="2019-08-22T09:12:24.969" v="48" actId="1076"/>
          <ac:cxnSpMkLst>
            <pc:docMk/>
            <pc:sldMk cId="439333319" sldId="476"/>
            <ac:cxnSpMk id="22" creationId="{00000000-0000-0000-0000-000000000000}"/>
          </ac:cxnSpMkLst>
        </pc:cxnChg>
      </pc:sldChg>
      <pc:sldChg chg="modSp">
        <pc:chgData name="Lentz, Dennis (Heidelberg) DEU" userId="S::dennis.lentz@heidelbergcement.com::bb274d03-c0d7-42e1-949b-0a0a9715b48b" providerId="AD" clId="Web-{53C8FBAC-2F26-4BFC-A9F2-D8C562078449}" dt="2019-08-22T09:11:10" v="20" actId="20577"/>
        <pc:sldMkLst>
          <pc:docMk/>
          <pc:sldMk cId="486806814" sldId="485"/>
        </pc:sldMkLst>
        <pc:spChg chg="mod">
          <ac:chgData name="Lentz, Dennis (Heidelberg) DEU" userId="S::dennis.lentz@heidelbergcement.com::bb274d03-c0d7-42e1-949b-0a0a9715b48b" providerId="AD" clId="Web-{53C8FBAC-2F26-4BFC-A9F2-D8C562078449}" dt="2019-08-22T09:10:53.562" v="15" actId="20577"/>
          <ac:spMkLst>
            <pc:docMk/>
            <pc:sldMk cId="486806814" sldId="485"/>
            <ac:spMk id="3" creationId="{00000000-0000-0000-0000-000000000000}"/>
          </ac:spMkLst>
        </pc:spChg>
        <pc:spChg chg="mod">
          <ac:chgData name="Lentz, Dennis (Heidelberg) DEU" userId="S::dennis.lentz@heidelbergcement.com::bb274d03-c0d7-42e1-949b-0a0a9715b48b" providerId="AD" clId="Web-{53C8FBAC-2F26-4BFC-A9F2-D8C562078449}" dt="2019-08-22T09:11:10" v="20" actId="20577"/>
          <ac:spMkLst>
            <pc:docMk/>
            <pc:sldMk cId="486806814" sldId="485"/>
            <ac:spMk id="18" creationId="{00000000-0000-0000-0000-000000000000}"/>
          </ac:spMkLst>
        </pc:spChg>
      </pc:sldChg>
      <pc:sldChg chg="modSp">
        <pc:chgData name="Lentz, Dennis (Heidelberg) DEU" userId="S::dennis.lentz@heidelbergcement.com::bb274d03-c0d7-42e1-949b-0a0a9715b48b" providerId="AD" clId="Web-{53C8FBAC-2F26-4BFC-A9F2-D8C562078449}" dt="2019-08-22T09:11:42.876" v="44" actId="20577"/>
        <pc:sldMkLst>
          <pc:docMk/>
          <pc:sldMk cId="524918126" sldId="486"/>
        </pc:sldMkLst>
        <pc:spChg chg="mod">
          <ac:chgData name="Lentz, Dennis (Heidelberg) DEU" userId="S::dennis.lentz@heidelbergcement.com::bb274d03-c0d7-42e1-949b-0a0a9715b48b" providerId="AD" clId="Web-{53C8FBAC-2F26-4BFC-A9F2-D8C562078449}" dt="2019-08-22T09:11:24.312" v="33" actId="20577"/>
          <ac:spMkLst>
            <pc:docMk/>
            <pc:sldMk cId="524918126" sldId="486"/>
            <ac:spMk id="3" creationId="{00000000-0000-0000-0000-000000000000}"/>
          </ac:spMkLst>
        </pc:spChg>
        <pc:spChg chg="mod">
          <ac:chgData name="Lentz, Dennis (Heidelberg) DEU" userId="S::dennis.lentz@heidelbergcement.com::bb274d03-c0d7-42e1-949b-0a0a9715b48b" providerId="AD" clId="Web-{53C8FBAC-2F26-4BFC-A9F2-D8C562078449}" dt="2019-08-22T09:11:34.219" v="38" actId="20577"/>
          <ac:spMkLst>
            <pc:docMk/>
            <pc:sldMk cId="524918126" sldId="486"/>
            <ac:spMk id="25" creationId="{00000000-0000-0000-0000-000000000000}"/>
          </ac:spMkLst>
        </pc:spChg>
        <pc:spChg chg="mod">
          <ac:chgData name="Lentz, Dennis (Heidelberg) DEU" userId="S::dennis.lentz@heidelbergcement.com::bb274d03-c0d7-42e1-949b-0a0a9715b48b" providerId="AD" clId="Web-{53C8FBAC-2F26-4BFC-A9F2-D8C562078449}" dt="2019-08-22T09:11:42.876" v="44" actId="20577"/>
          <ac:spMkLst>
            <pc:docMk/>
            <pc:sldMk cId="524918126" sldId="486"/>
            <ac:spMk id="29" creationId="{00000000-0000-0000-0000-000000000000}"/>
          </ac:spMkLst>
        </pc:spChg>
      </pc:sldChg>
    </pc:docChg>
  </pc:docChgLst>
  <pc:docChgLst>
    <pc:chgData name="Ahmed, Noman (Heidelberg) DEU" userId="S::noman.ahmed@heidelbergcement.com::74641d83-75b1-4613-bf69-695ccaf228c2" providerId="AD" clId="Web-{485C5687-54C8-47D2-A5F9-C6774713BB0A}"/>
    <pc:docChg chg="modSld">
      <pc:chgData name="Ahmed, Noman (Heidelberg) DEU" userId="S::noman.ahmed@heidelbergcement.com::74641d83-75b1-4613-bf69-695ccaf228c2" providerId="AD" clId="Web-{485C5687-54C8-47D2-A5F9-C6774713BB0A}" dt="2019-08-26T20:34:01.550" v="8" actId="20577"/>
      <pc:docMkLst>
        <pc:docMk/>
      </pc:docMkLst>
    </pc:docChg>
  </pc:docChgLst>
  <pc:docChgLst>
    <pc:chgData name="Loeber, Andreas (Heidelberg) DEU" userId="6ab36004-be4a-4732-8c61-56a0cb76869f" providerId="ADAL" clId="{8210504E-96A4-4F1F-8837-49AFA35AF4E6}"/>
    <pc:docChg chg="custSel modSld">
      <pc:chgData name="Loeber, Andreas (Heidelberg) DEU" userId="6ab36004-be4a-4732-8c61-56a0cb76869f" providerId="ADAL" clId="{8210504E-96A4-4F1F-8837-49AFA35AF4E6}" dt="2019-09-20T05:37:16.861" v="1" actId="14100"/>
      <pc:docMkLst>
        <pc:docMk/>
      </pc:docMkLst>
      <pc:sldChg chg="delSp modSp">
        <pc:chgData name="Loeber, Andreas (Heidelberg) DEU" userId="6ab36004-be4a-4732-8c61-56a0cb76869f" providerId="ADAL" clId="{8210504E-96A4-4F1F-8837-49AFA35AF4E6}" dt="2019-09-20T05:37:16.861" v="1" actId="14100"/>
        <pc:sldMkLst>
          <pc:docMk/>
          <pc:sldMk cId="524918126" sldId="486"/>
        </pc:sldMkLst>
        <pc:spChg chg="mod">
          <ac:chgData name="Loeber, Andreas (Heidelberg) DEU" userId="6ab36004-be4a-4732-8c61-56a0cb76869f" providerId="ADAL" clId="{8210504E-96A4-4F1F-8837-49AFA35AF4E6}" dt="2019-09-20T05:37:16.861" v="1" actId="14100"/>
          <ac:spMkLst>
            <pc:docMk/>
            <pc:sldMk cId="524918126" sldId="486"/>
            <ac:spMk id="3" creationId="{00000000-0000-0000-0000-000000000000}"/>
          </ac:spMkLst>
        </pc:spChg>
        <pc:spChg chg="del">
          <ac:chgData name="Loeber, Andreas (Heidelberg) DEU" userId="6ab36004-be4a-4732-8c61-56a0cb76869f" providerId="ADAL" clId="{8210504E-96A4-4F1F-8837-49AFA35AF4E6}" dt="2019-09-20T05:37:13.642" v="0" actId="478"/>
          <ac:spMkLst>
            <pc:docMk/>
            <pc:sldMk cId="524918126" sldId="486"/>
            <ac:spMk id="28" creationId="{6C0DEDF2-40DD-4A43-929B-B512FF51E34D}"/>
          </ac:spMkLst>
        </pc:spChg>
      </pc:sldChg>
    </pc:docChg>
  </pc:docChgLst>
  <pc:docChgLst>
    <pc:chgData name="Lentz, Dennis (Heidelberg) DEU" userId="S::dennis.lentz@heidelbergcement.com::bb274d03-c0d7-42e1-949b-0a0a9715b48b" providerId="AD" clId="Web-{DA3E57B8-C0DE-4FCF-9213-A3B9D6A144DE}"/>
    <pc:docChg chg="modSld">
      <pc:chgData name="Lentz, Dennis (Heidelberg) DEU" userId="S::dennis.lentz@heidelbergcement.com::bb274d03-c0d7-42e1-949b-0a0a9715b48b" providerId="AD" clId="Web-{DA3E57B8-C0DE-4FCF-9213-A3B9D6A144DE}" dt="2019-08-26T11:46:18.074" v="33" actId="20577"/>
      <pc:docMkLst>
        <pc:docMk/>
      </pc:docMkLst>
      <pc:sldChg chg="modSp">
        <pc:chgData name="Lentz, Dennis (Heidelberg) DEU" userId="S::dennis.lentz@heidelbergcement.com::bb274d03-c0d7-42e1-949b-0a0a9715b48b" providerId="AD" clId="Web-{DA3E57B8-C0DE-4FCF-9213-A3B9D6A144DE}" dt="2019-08-26T11:42:00.510" v="3" actId="20577"/>
        <pc:sldMkLst>
          <pc:docMk/>
          <pc:sldMk cId="3128172551" sldId="475"/>
        </pc:sldMkLst>
        <pc:spChg chg="mod">
          <ac:chgData name="Lentz, Dennis (Heidelberg) DEU" userId="S::dennis.lentz@heidelbergcement.com::bb274d03-c0d7-42e1-949b-0a0a9715b48b" providerId="AD" clId="Web-{DA3E57B8-C0DE-4FCF-9213-A3B9D6A144DE}" dt="2019-08-26T11:42:00.510" v="3" actId="20577"/>
          <ac:spMkLst>
            <pc:docMk/>
            <pc:sldMk cId="3128172551" sldId="475"/>
            <ac:spMk id="11" creationId="{00000000-0000-0000-0000-000000000000}"/>
          </ac:spMkLst>
        </pc:spChg>
      </pc:sldChg>
      <pc:sldChg chg="addSp delSp modSp">
        <pc:chgData name="Lentz, Dennis (Heidelberg) DEU" userId="S::dennis.lentz@heidelbergcement.com::bb274d03-c0d7-42e1-949b-0a0a9715b48b" providerId="AD" clId="Web-{DA3E57B8-C0DE-4FCF-9213-A3B9D6A144DE}" dt="2019-08-26T11:44:40.901" v="28"/>
        <pc:sldMkLst>
          <pc:docMk/>
          <pc:sldMk cId="439333319" sldId="476"/>
        </pc:sldMkLst>
        <pc:spChg chg="add del mod">
          <ac:chgData name="Lentz, Dennis (Heidelberg) DEU" userId="S::dennis.lentz@heidelbergcement.com::bb274d03-c0d7-42e1-949b-0a0a9715b48b" providerId="AD" clId="Web-{DA3E57B8-C0DE-4FCF-9213-A3B9D6A144DE}" dt="2019-08-26T11:44:06.354" v="26"/>
          <ac:spMkLst>
            <pc:docMk/>
            <pc:sldMk cId="439333319" sldId="476"/>
            <ac:spMk id="14" creationId="{4652C278-588D-4A13-9BAE-3C2A2686EBA8}"/>
          </ac:spMkLst>
        </pc:spChg>
        <pc:grpChg chg="add del">
          <ac:chgData name="Lentz, Dennis (Heidelberg) DEU" userId="S::dennis.lentz@heidelbergcement.com::bb274d03-c0d7-42e1-949b-0a0a9715b48b" providerId="AD" clId="Web-{DA3E57B8-C0DE-4FCF-9213-A3B9D6A144DE}" dt="2019-08-26T11:44:40.901" v="28"/>
          <ac:grpSpMkLst>
            <pc:docMk/>
            <pc:sldMk cId="439333319" sldId="476"/>
            <ac:grpSpMk id="13" creationId="{00000000-0000-0000-0000-000000000000}"/>
          </ac:grpSpMkLst>
        </pc:grpChg>
        <pc:cxnChg chg="mod">
          <ac:chgData name="Lentz, Dennis (Heidelberg) DEU" userId="S::dennis.lentz@heidelbergcement.com::bb274d03-c0d7-42e1-949b-0a0a9715b48b" providerId="AD" clId="Web-{DA3E57B8-C0DE-4FCF-9213-A3B9D6A144DE}" dt="2019-08-26T11:44:40.901" v="28"/>
          <ac:cxnSpMkLst>
            <pc:docMk/>
            <pc:sldMk cId="439333319" sldId="476"/>
            <ac:cxnSpMk id="22" creationId="{00000000-0000-0000-0000-000000000000}"/>
          </ac:cxnSpMkLst>
        </pc:cxnChg>
      </pc:sldChg>
      <pc:sldChg chg="modSp">
        <pc:chgData name="Lentz, Dennis (Heidelberg) DEU" userId="S::dennis.lentz@heidelbergcement.com::bb274d03-c0d7-42e1-949b-0a0a9715b48b" providerId="AD" clId="Web-{DA3E57B8-C0DE-4FCF-9213-A3B9D6A144DE}" dt="2019-08-26T11:46:18.074" v="33" actId="20577"/>
        <pc:sldMkLst>
          <pc:docMk/>
          <pc:sldMk cId="1029312049" sldId="489"/>
        </pc:sldMkLst>
        <pc:spChg chg="mod">
          <ac:chgData name="Lentz, Dennis (Heidelberg) DEU" userId="S::dennis.lentz@heidelbergcement.com::bb274d03-c0d7-42e1-949b-0a0a9715b48b" providerId="AD" clId="Web-{DA3E57B8-C0DE-4FCF-9213-A3B9D6A144DE}" dt="2019-08-26T11:46:18.074" v="33" actId="20577"/>
          <ac:spMkLst>
            <pc:docMk/>
            <pc:sldMk cId="1029312049" sldId="489"/>
            <ac:spMk id="31" creationId="{00000000-0000-0000-0000-000000000000}"/>
          </ac:spMkLst>
        </pc:spChg>
      </pc:sldChg>
    </pc:docChg>
  </pc:docChgLst>
  <pc:docChgLst>
    <pc:chgData name="Lentz, Dennis (Heidelberg) DEU" userId="S::dennis.lentz@heidelbergcement.com::bb274d03-c0d7-42e1-949b-0a0a9715b48b" providerId="AD" clId="Web-{955F91C5-C43F-4958-846D-41A9F3F67711}"/>
    <pc:docChg chg="modSld">
      <pc:chgData name="Lentz, Dennis (Heidelberg) DEU" userId="S::dennis.lentz@heidelbergcement.com::bb274d03-c0d7-42e1-949b-0a0a9715b48b" providerId="AD" clId="Web-{955F91C5-C43F-4958-846D-41A9F3F67711}" dt="2019-08-21T15:37:49.039" v="12" actId="20577"/>
      <pc:docMkLst>
        <pc:docMk/>
      </pc:docMkLst>
      <pc:sldChg chg="modSp">
        <pc:chgData name="Lentz, Dennis (Heidelberg) DEU" userId="S::dennis.lentz@heidelbergcement.com::bb274d03-c0d7-42e1-949b-0a0a9715b48b" providerId="AD" clId="Web-{955F91C5-C43F-4958-846D-41A9F3F67711}" dt="2019-08-21T15:37:34.991" v="9" actId="20577"/>
        <pc:sldMkLst>
          <pc:docMk/>
          <pc:sldMk cId="439333319" sldId="476"/>
        </pc:sldMkLst>
        <pc:spChg chg="mod">
          <ac:chgData name="Lentz, Dennis (Heidelberg) DEU" userId="S::dennis.lentz@heidelbergcement.com::bb274d03-c0d7-42e1-949b-0a0a9715b48b" providerId="AD" clId="Web-{955F91C5-C43F-4958-846D-41A9F3F67711}" dt="2019-08-21T15:37:34.991" v="9" actId="20577"/>
          <ac:spMkLst>
            <pc:docMk/>
            <pc:sldMk cId="439333319" sldId="476"/>
            <ac:spMk id="2" creationId="{00000000-0000-0000-0000-000000000000}"/>
          </ac:spMkLst>
        </pc:spChg>
      </pc:sldChg>
      <pc:sldChg chg="modSp">
        <pc:chgData name="Lentz, Dennis (Heidelberg) DEU" userId="S::dennis.lentz@heidelbergcement.com::bb274d03-c0d7-42e1-949b-0a0a9715b48b" providerId="AD" clId="Web-{955F91C5-C43F-4958-846D-41A9F3F67711}" dt="2019-08-21T15:37:49.039" v="12" actId="20577"/>
        <pc:sldMkLst>
          <pc:docMk/>
          <pc:sldMk cId="1029312049" sldId="489"/>
        </pc:sldMkLst>
        <pc:spChg chg="mod">
          <ac:chgData name="Lentz, Dennis (Heidelberg) DEU" userId="S::dennis.lentz@heidelbergcement.com::bb274d03-c0d7-42e1-949b-0a0a9715b48b" providerId="AD" clId="Web-{955F91C5-C43F-4958-846D-41A9F3F67711}" dt="2019-08-21T15:37:49.039" v="12" actId="20577"/>
          <ac:spMkLst>
            <pc:docMk/>
            <pc:sldMk cId="1029312049" sldId="489"/>
            <ac:spMk id="2" creationId="{00000000-0000-0000-0000-000000000000}"/>
          </ac:spMkLst>
        </pc:spChg>
      </pc:sldChg>
    </pc:docChg>
  </pc:docChgLst>
  <pc:docChgLst>
    <pc:chgData name="Lentz, Dennis (Heidelberg) DEU" userId="bb274d03-c0d7-42e1-949b-0a0a9715b48b" providerId="ADAL" clId="{DB4C05D2-5608-6C4B-9E73-C33B144DB747}"/>
    <pc:docChg chg="undo custSel modSld">
      <pc:chgData name="Lentz, Dennis (Heidelberg) DEU" userId="bb274d03-c0d7-42e1-949b-0a0a9715b48b" providerId="ADAL" clId="{DB4C05D2-5608-6C4B-9E73-C33B144DB747}" dt="2019-08-26T11:38:15.592" v="163" actId="1076"/>
      <pc:docMkLst>
        <pc:docMk/>
      </pc:docMkLst>
      <pc:sldChg chg="modSp">
        <pc:chgData name="Lentz, Dennis (Heidelberg) DEU" userId="bb274d03-c0d7-42e1-949b-0a0a9715b48b" providerId="ADAL" clId="{DB4C05D2-5608-6C4B-9E73-C33B144DB747}" dt="2019-08-26T11:38:15.592" v="163" actId="1076"/>
        <pc:sldMkLst>
          <pc:docMk/>
          <pc:sldMk cId="3128172551" sldId="475"/>
        </pc:sldMkLst>
        <pc:spChg chg="mod">
          <ac:chgData name="Lentz, Dennis (Heidelberg) DEU" userId="bb274d03-c0d7-42e1-949b-0a0a9715b48b" providerId="ADAL" clId="{DB4C05D2-5608-6C4B-9E73-C33B144DB747}" dt="2019-08-26T11:38:15.592" v="163" actId="1076"/>
          <ac:spMkLst>
            <pc:docMk/>
            <pc:sldMk cId="3128172551" sldId="475"/>
            <ac:spMk id="11" creationId="{00000000-0000-0000-0000-000000000000}"/>
          </ac:spMkLst>
        </pc:spChg>
        <pc:grpChg chg="mod">
          <ac:chgData name="Lentz, Dennis (Heidelberg) DEU" userId="bb274d03-c0d7-42e1-949b-0a0a9715b48b" providerId="ADAL" clId="{DB4C05D2-5608-6C4B-9E73-C33B144DB747}" dt="2019-08-26T11:34:34.964" v="156" actId="14100"/>
          <ac:grpSpMkLst>
            <pc:docMk/>
            <pc:sldMk cId="3128172551" sldId="475"/>
            <ac:grpSpMk id="12" creationId="{00000000-0000-0000-0000-000000000000}"/>
          </ac:grpSpMkLst>
        </pc:grpChg>
      </pc:sldChg>
      <pc:sldChg chg="delSp">
        <pc:chgData name="Lentz, Dennis (Heidelberg) DEU" userId="bb274d03-c0d7-42e1-949b-0a0a9715b48b" providerId="ADAL" clId="{DB4C05D2-5608-6C4B-9E73-C33B144DB747}" dt="2019-08-26T11:35:10.567" v="161" actId="478"/>
        <pc:sldMkLst>
          <pc:docMk/>
          <pc:sldMk cId="486806814" sldId="485"/>
        </pc:sldMkLst>
        <pc:spChg chg="del">
          <ac:chgData name="Lentz, Dennis (Heidelberg) DEU" userId="bb274d03-c0d7-42e1-949b-0a0a9715b48b" providerId="ADAL" clId="{DB4C05D2-5608-6C4B-9E73-C33B144DB747}" dt="2019-08-26T11:35:10.567" v="161" actId="478"/>
          <ac:spMkLst>
            <pc:docMk/>
            <pc:sldMk cId="486806814" sldId="485"/>
            <ac:spMk id="11" creationId="{00000000-0000-0000-0000-000000000000}"/>
          </ac:spMkLst>
        </pc:spChg>
      </pc:sldChg>
    </pc:docChg>
  </pc:docChgLst>
  <pc:docChgLst>
    <pc:chgData name="Lentz, Dennis (Heidelberg) DEU" userId="S::dennis.lentz@heidelbergcement.com::bb274d03-c0d7-42e1-949b-0a0a9715b48b" providerId="AD" clId="Web-{E5060651-CF80-49DC-8BAE-BA3741A324EC}"/>
    <pc:docChg chg="modSld">
      <pc:chgData name="Lentz, Dennis (Heidelberg) DEU" userId="S::dennis.lentz@heidelbergcement.com::bb274d03-c0d7-42e1-949b-0a0a9715b48b" providerId="AD" clId="Web-{E5060651-CF80-49DC-8BAE-BA3741A324EC}" dt="2019-09-03T07:40:21.562" v="54" actId="20577"/>
      <pc:docMkLst>
        <pc:docMk/>
      </pc:docMkLst>
      <pc:sldChg chg="modSp">
        <pc:chgData name="Lentz, Dennis (Heidelberg) DEU" userId="S::dennis.lentz@heidelbergcement.com::bb274d03-c0d7-42e1-949b-0a0a9715b48b" providerId="AD" clId="Web-{E5060651-CF80-49DC-8BAE-BA3741A324EC}" dt="2019-09-03T07:40:21.562" v="54" actId="20577"/>
        <pc:sldMkLst>
          <pc:docMk/>
          <pc:sldMk cId="1029312049" sldId="489"/>
        </pc:sldMkLst>
        <pc:spChg chg="mod">
          <ac:chgData name="Lentz, Dennis (Heidelberg) DEU" userId="S::dennis.lentz@heidelbergcement.com::bb274d03-c0d7-42e1-949b-0a0a9715b48b" providerId="AD" clId="Web-{E5060651-CF80-49DC-8BAE-BA3741A324EC}" dt="2019-09-03T07:40:21.562" v="54" actId="20577"/>
          <ac:spMkLst>
            <pc:docMk/>
            <pc:sldMk cId="1029312049" sldId="489"/>
            <ac:spMk id="31" creationId="{00000000-0000-0000-0000-000000000000}"/>
          </ac:spMkLst>
        </pc:spChg>
        <pc:spChg chg="mod">
          <ac:chgData name="Lentz, Dennis (Heidelberg) DEU" userId="S::dennis.lentz@heidelbergcement.com::bb274d03-c0d7-42e1-949b-0a0a9715b48b" providerId="AD" clId="Web-{E5060651-CF80-49DC-8BAE-BA3741A324EC}" dt="2019-09-03T07:39:53.797" v="0" actId="14100"/>
          <ac:spMkLst>
            <pc:docMk/>
            <pc:sldMk cId="1029312049" sldId="489"/>
            <ac:spMk id="32" creationId="{00000000-0000-0000-0000-000000000000}"/>
          </ac:spMkLst>
        </pc:spChg>
      </pc:sldChg>
    </pc:docChg>
  </pc:docChgLst>
  <pc:docChgLst>
    <pc:chgData name="Loeber, Andreas (Heidelberg) DEU" userId="6ab36004-be4a-4732-8c61-56a0cb76869f" providerId="ADAL" clId="{B8632E9A-FCDA-4D56-BA76-D913CD72A49F}"/>
    <pc:docChg chg="undo custSel addSld delSld modSld sldOrd modMainMaster modSection">
      <pc:chgData name="Loeber, Andreas (Heidelberg) DEU" userId="6ab36004-be4a-4732-8c61-56a0cb76869f" providerId="ADAL" clId="{B8632E9A-FCDA-4D56-BA76-D913CD72A49F}" dt="2019-08-28T07:16:33.688" v="1267" actId="1076"/>
      <pc:docMkLst>
        <pc:docMk/>
      </pc:docMkLst>
      <pc:sldChg chg="addSp delSp modSp">
        <pc:chgData name="Loeber, Andreas (Heidelberg) DEU" userId="6ab36004-be4a-4732-8c61-56a0cb76869f" providerId="ADAL" clId="{B8632E9A-FCDA-4D56-BA76-D913CD72A49F}" dt="2019-08-28T06:37:55.250" v="1052" actId="20577"/>
        <pc:sldMkLst>
          <pc:docMk/>
          <pc:sldMk cId="3128172551" sldId="475"/>
        </pc:sldMkLst>
        <pc:spChg chg="mod">
          <ac:chgData name="Loeber, Andreas (Heidelberg) DEU" userId="6ab36004-be4a-4732-8c61-56a0cb76869f" providerId="ADAL" clId="{B8632E9A-FCDA-4D56-BA76-D913CD72A49F}" dt="2019-08-28T06:37:55.250" v="1052" actId="20577"/>
          <ac:spMkLst>
            <pc:docMk/>
            <pc:sldMk cId="3128172551" sldId="475"/>
            <ac:spMk id="2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7T06:55:03.065" v="12" actId="20577"/>
          <ac:spMkLst>
            <pc:docMk/>
            <pc:sldMk cId="3128172551" sldId="475"/>
            <ac:spMk id="3" creationId="{00000000-0000-0000-0000-000000000000}"/>
          </ac:spMkLst>
        </pc:spChg>
        <pc:spChg chg="mod topLvl">
          <ac:chgData name="Loeber, Andreas (Heidelberg) DEU" userId="6ab36004-be4a-4732-8c61-56a0cb76869f" providerId="ADAL" clId="{B8632E9A-FCDA-4D56-BA76-D913CD72A49F}" dt="2019-08-28T06:34:09.190" v="1021" actId="465"/>
          <ac:spMkLst>
            <pc:docMk/>
            <pc:sldMk cId="3128172551" sldId="475"/>
            <ac:spMk id="4" creationId="{00000000-0000-0000-0000-000000000000}"/>
          </ac:spMkLst>
        </pc:spChg>
        <pc:spChg chg="mod topLvl">
          <ac:chgData name="Loeber, Andreas (Heidelberg) DEU" userId="6ab36004-be4a-4732-8c61-56a0cb76869f" providerId="ADAL" clId="{B8632E9A-FCDA-4D56-BA76-D913CD72A49F}" dt="2019-08-28T06:34:09.190" v="1021" actId="465"/>
          <ac:spMkLst>
            <pc:docMk/>
            <pc:sldMk cId="3128172551" sldId="475"/>
            <ac:spMk id="5" creationId="{00000000-0000-0000-0000-000000000000}"/>
          </ac:spMkLst>
        </pc:spChg>
        <pc:spChg chg="mod topLvl">
          <ac:chgData name="Loeber, Andreas (Heidelberg) DEU" userId="6ab36004-be4a-4732-8c61-56a0cb76869f" providerId="ADAL" clId="{B8632E9A-FCDA-4D56-BA76-D913CD72A49F}" dt="2019-08-28T06:34:09.190" v="1021" actId="465"/>
          <ac:spMkLst>
            <pc:docMk/>
            <pc:sldMk cId="3128172551" sldId="475"/>
            <ac:spMk id="6" creationId="{00000000-0000-0000-0000-000000000000}"/>
          </ac:spMkLst>
        </pc:spChg>
        <pc:spChg chg="mod topLvl">
          <ac:chgData name="Loeber, Andreas (Heidelberg) DEU" userId="6ab36004-be4a-4732-8c61-56a0cb76869f" providerId="ADAL" clId="{B8632E9A-FCDA-4D56-BA76-D913CD72A49F}" dt="2019-08-28T06:34:09.190" v="1021" actId="465"/>
          <ac:spMkLst>
            <pc:docMk/>
            <pc:sldMk cId="3128172551" sldId="475"/>
            <ac:spMk id="7" creationId="{00000000-0000-0000-0000-000000000000}"/>
          </ac:spMkLst>
        </pc:spChg>
        <pc:spChg chg="mod topLvl">
          <ac:chgData name="Loeber, Andreas (Heidelberg) DEU" userId="6ab36004-be4a-4732-8c61-56a0cb76869f" providerId="ADAL" clId="{B8632E9A-FCDA-4D56-BA76-D913CD72A49F}" dt="2019-08-28T06:34:09.190" v="1021" actId="465"/>
          <ac:spMkLst>
            <pc:docMk/>
            <pc:sldMk cId="3128172551" sldId="475"/>
            <ac:spMk id="8" creationId="{00000000-0000-0000-0000-000000000000}"/>
          </ac:spMkLst>
        </pc:spChg>
        <pc:spChg chg="mod topLvl">
          <ac:chgData name="Loeber, Andreas (Heidelberg) DEU" userId="6ab36004-be4a-4732-8c61-56a0cb76869f" providerId="ADAL" clId="{B8632E9A-FCDA-4D56-BA76-D913CD72A49F}" dt="2019-08-28T06:34:09.190" v="1021" actId="465"/>
          <ac:spMkLst>
            <pc:docMk/>
            <pc:sldMk cId="3128172551" sldId="475"/>
            <ac:spMk id="9" creationId="{00000000-0000-0000-0000-000000000000}"/>
          </ac:spMkLst>
        </pc:spChg>
        <pc:spChg chg="mod topLvl">
          <ac:chgData name="Loeber, Andreas (Heidelberg) DEU" userId="6ab36004-be4a-4732-8c61-56a0cb76869f" providerId="ADAL" clId="{B8632E9A-FCDA-4D56-BA76-D913CD72A49F}" dt="2019-08-28T06:34:09.190" v="1021" actId="465"/>
          <ac:spMkLst>
            <pc:docMk/>
            <pc:sldMk cId="3128172551" sldId="475"/>
            <ac:spMk id="10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4:09.190" v="1021" actId="465"/>
          <ac:spMkLst>
            <pc:docMk/>
            <pc:sldMk cId="3128172551" sldId="475"/>
            <ac:spMk id="11" creationId="{00000000-0000-0000-0000-000000000000}"/>
          </ac:spMkLst>
        </pc:spChg>
        <pc:spChg chg="add del">
          <ac:chgData name="Loeber, Andreas (Heidelberg) DEU" userId="6ab36004-be4a-4732-8c61-56a0cb76869f" providerId="ADAL" clId="{B8632E9A-FCDA-4D56-BA76-D913CD72A49F}" dt="2019-08-27T06:53:32.706" v="1"/>
          <ac:spMkLst>
            <pc:docMk/>
            <pc:sldMk cId="3128172551" sldId="475"/>
            <ac:spMk id="15" creationId="{E5E2E187-639E-4D8C-9BDB-73FD9C4AC8B8}"/>
          </ac:spMkLst>
        </pc:spChg>
        <pc:spChg chg="add del">
          <ac:chgData name="Loeber, Andreas (Heidelberg) DEU" userId="6ab36004-be4a-4732-8c61-56a0cb76869f" providerId="ADAL" clId="{B8632E9A-FCDA-4D56-BA76-D913CD72A49F}" dt="2019-08-27T06:53:47.599" v="4" actId="478"/>
          <ac:spMkLst>
            <pc:docMk/>
            <pc:sldMk cId="3128172551" sldId="475"/>
            <ac:spMk id="20" creationId="{7E6543BF-378F-4C61-B8C9-1458E4D088FC}"/>
          </ac:spMkLst>
        </pc:spChg>
        <pc:grpChg chg="del mod">
          <ac:chgData name="Loeber, Andreas (Heidelberg) DEU" userId="6ab36004-be4a-4732-8c61-56a0cb76869f" providerId="ADAL" clId="{B8632E9A-FCDA-4D56-BA76-D913CD72A49F}" dt="2019-08-28T06:33:16.361" v="1010" actId="165"/>
          <ac:grpSpMkLst>
            <pc:docMk/>
            <pc:sldMk cId="3128172551" sldId="475"/>
            <ac:grpSpMk id="12" creationId="{00000000-0000-0000-0000-000000000000}"/>
          </ac:grpSpMkLst>
        </pc:grpChg>
        <pc:cxnChg chg="mod">
          <ac:chgData name="Loeber, Andreas (Heidelberg) DEU" userId="6ab36004-be4a-4732-8c61-56a0cb76869f" providerId="ADAL" clId="{B8632E9A-FCDA-4D56-BA76-D913CD72A49F}" dt="2019-08-28T06:33:52.801" v="1016" actId="14100"/>
          <ac:cxnSpMkLst>
            <pc:docMk/>
            <pc:sldMk cId="3128172551" sldId="475"/>
            <ac:cxnSpMk id="16" creationId="{00000000-0000-0000-0000-000000000000}"/>
          </ac:cxnSpMkLst>
        </pc:cxnChg>
      </pc:sldChg>
      <pc:sldChg chg="delSp modSp">
        <pc:chgData name="Loeber, Andreas (Heidelberg) DEU" userId="6ab36004-be4a-4732-8c61-56a0cb76869f" providerId="ADAL" clId="{B8632E9A-FCDA-4D56-BA76-D913CD72A49F}" dt="2019-08-27T14:18:30.140" v="583" actId="478"/>
        <pc:sldMkLst>
          <pc:docMk/>
          <pc:sldMk cId="439333319" sldId="476"/>
        </pc:sldMkLst>
        <pc:spChg chg="mod">
          <ac:chgData name="Loeber, Andreas (Heidelberg) DEU" userId="6ab36004-be4a-4732-8c61-56a0cb76869f" providerId="ADAL" clId="{B8632E9A-FCDA-4D56-BA76-D913CD72A49F}" dt="2019-08-27T14:16:14.103" v="564" actId="20577"/>
          <ac:spMkLst>
            <pc:docMk/>
            <pc:sldMk cId="439333319" sldId="476"/>
            <ac:spMk id="6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7T14:16:10.296" v="560" actId="20577"/>
          <ac:spMkLst>
            <pc:docMk/>
            <pc:sldMk cId="439333319" sldId="476"/>
            <ac:spMk id="8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7T14:16:32.959" v="575" actId="20577"/>
          <ac:spMkLst>
            <pc:docMk/>
            <pc:sldMk cId="439333319" sldId="476"/>
            <ac:spMk id="11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7T14:16:38.006" v="582" actId="20577"/>
          <ac:spMkLst>
            <pc:docMk/>
            <pc:sldMk cId="439333319" sldId="476"/>
            <ac:spMk id="12" creationId="{00000000-0000-0000-0000-000000000000}"/>
          </ac:spMkLst>
        </pc:spChg>
        <pc:spChg chg="del">
          <ac:chgData name="Loeber, Andreas (Heidelberg) DEU" userId="6ab36004-be4a-4732-8c61-56a0cb76869f" providerId="ADAL" clId="{B8632E9A-FCDA-4D56-BA76-D913CD72A49F}" dt="2019-08-27T14:18:30.140" v="583" actId="478"/>
          <ac:spMkLst>
            <pc:docMk/>
            <pc:sldMk cId="439333319" sldId="476"/>
            <ac:spMk id="14" creationId="{4652C278-588D-4A13-9BAE-3C2A2686EBA8}"/>
          </ac:spMkLst>
        </pc:spChg>
      </pc:sldChg>
      <pc:sldChg chg="add">
        <pc:chgData name="Loeber, Andreas (Heidelberg) DEU" userId="6ab36004-be4a-4732-8c61-56a0cb76869f" providerId="ADAL" clId="{B8632E9A-FCDA-4D56-BA76-D913CD72A49F}" dt="2019-08-27T13:39:37.313" v="49"/>
        <pc:sldMkLst>
          <pc:docMk/>
          <pc:sldMk cId="2656654441" sldId="479"/>
        </pc:sldMkLst>
      </pc:sldChg>
      <pc:sldChg chg="add">
        <pc:chgData name="Loeber, Andreas (Heidelberg) DEU" userId="6ab36004-be4a-4732-8c61-56a0cb76869f" providerId="ADAL" clId="{B8632E9A-FCDA-4D56-BA76-D913CD72A49F}" dt="2019-08-27T13:39:45.542" v="52"/>
        <pc:sldMkLst>
          <pc:docMk/>
          <pc:sldMk cId="850747915" sldId="480"/>
        </pc:sldMkLst>
      </pc:sldChg>
      <pc:sldChg chg="addSp delSp modSp">
        <pc:chgData name="Loeber, Andreas (Heidelberg) DEU" userId="6ab36004-be4a-4732-8c61-56a0cb76869f" providerId="ADAL" clId="{B8632E9A-FCDA-4D56-BA76-D913CD72A49F}" dt="2019-08-28T06:40:53.742" v="1117" actId="208"/>
        <pc:sldMkLst>
          <pc:docMk/>
          <pc:sldMk cId="3434622222" sldId="481"/>
        </pc:sldMkLst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5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0:32.868" v="820" actId="14100"/>
          <ac:spMkLst>
            <pc:docMk/>
            <pc:sldMk cId="3434622222" sldId="481"/>
            <ac:spMk id="52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56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04.287" v="786" actId="207"/>
          <ac:spMkLst>
            <pc:docMk/>
            <pc:sldMk cId="3434622222" sldId="481"/>
            <ac:spMk id="57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59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60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61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0:29.173" v="819" actId="14100"/>
          <ac:spMkLst>
            <pc:docMk/>
            <pc:sldMk cId="3434622222" sldId="481"/>
            <ac:spMk id="65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0:23.319" v="818" actId="553"/>
          <ac:spMkLst>
            <pc:docMk/>
            <pc:sldMk cId="3434622222" sldId="481"/>
            <ac:spMk id="66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0:23.319" v="818" actId="553"/>
          <ac:spMkLst>
            <pc:docMk/>
            <pc:sldMk cId="3434622222" sldId="481"/>
            <ac:spMk id="67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70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72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73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74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75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76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77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78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79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80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81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82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85" creationId="{00000000-0000-0000-0000-000000000000}"/>
          </ac:spMkLst>
        </pc:spChg>
        <pc:spChg chg="add del">
          <ac:chgData name="Loeber, Andreas (Heidelberg) DEU" userId="6ab36004-be4a-4732-8c61-56a0cb76869f" providerId="ADAL" clId="{B8632E9A-FCDA-4D56-BA76-D913CD72A49F}" dt="2019-08-28T06:34:40.510" v="1026" actId="478"/>
          <ac:spMkLst>
            <pc:docMk/>
            <pc:sldMk cId="3434622222" sldId="481"/>
            <ac:spMk id="86" creationId="{B06D5F96-BC06-4A0E-9083-E4D9C063D0C5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87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88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89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6:57.851" v="653" actId="207"/>
          <ac:spMkLst>
            <pc:docMk/>
            <pc:sldMk cId="3434622222" sldId="481"/>
            <ac:spMk id="90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6:58.761" v="655" actId="207"/>
          <ac:spMkLst>
            <pc:docMk/>
            <pc:sldMk cId="3434622222" sldId="481"/>
            <ac:spMk id="92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95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7:07.211" v="658" actId="207"/>
          <ac:spMkLst>
            <pc:docMk/>
            <pc:sldMk cId="3434622222" sldId="481"/>
            <ac:spMk id="96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7:08.169" v="660" actId="207"/>
          <ac:spMkLst>
            <pc:docMk/>
            <pc:sldMk cId="3434622222" sldId="481"/>
            <ac:spMk id="97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6:58.356" v="654" actId="207"/>
          <ac:spMkLst>
            <pc:docMk/>
            <pc:sldMk cId="3434622222" sldId="481"/>
            <ac:spMk id="98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7:07.692" v="659" actId="207"/>
          <ac:spMkLst>
            <pc:docMk/>
            <pc:sldMk cId="3434622222" sldId="481"/>
            <ac:spMk id="99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102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103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7:06.765" v="657" actId="207"/>
          <ac:spMkLst>
            <pc:docMk/>
            <pc:sldMk cId="3434622222" sldId="481"/>
            <ac:spMk id="104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29:14.501" v="811" actId="1036"/>
          <ac:spMkLst>
            <pc:docMk/>
            <pc:sldMk cId="3434622222" sldId="481"/>
            <ac:spMk id="106" creationId="{00000000-0000-0000-0000-000000000000}"/>
          </ac:spMkLst>
        </pc:spChg>
        <pc:grpChg chg="mod">
          <ac:chgData name="Loeber, Andreas (Heidelberg) DEU" userId="6ab36004-be4a-4732-8c61-56a0cb76869f" providerId="ADAL" clId="{B8632E9A-FCDA-4D56-BA76-D913CD72A49F}" dt="2019-08-28T06:30:23.319" v="818" actId="553"/>
          <ac:grpSpMkLst>
            <pc:docMk/>
            <pc:sldMk cId="3434622222" sldId="481"/>
            <ac:grpSpMk id="8" creationId="{00000000-0000-0000-0000-000000000000}"/>
          </ac:grpSpMkLst>
        </pc:grpChg>
        <pc:grpChg chg="mod">
          <ac:chgData name="Loeber, Andreas (Heidelberg) DEU" userId="6ab36004-be4a-4732-8c61-56a0cb76869f" providerId="ADAL" clId="{B8632E9A-FCDA-4D56-BA76-D913CD72A49F}" dt="2019-08-28T06:30:23.319" v="818" actId="553"/>
          <ac:grpSpMkLst>
            <pc:docMk/>
            <pc:sldMk cId="3434622222" sldId="481"/>
            <ac:grpSpMk id="11" creationId="{00000000-0000-0000-0000-000000000000}"/>
          </ac:grpSpMkLst>
        </pc:grpChg>
        <pc:grpChg chg="mod">
          <ac:chgData name="Loeber, Andreas (Heidelberg) DEU" userId="6ab36004-be4a-4732-8c61-56a0cb76869f" providerId="ADAL" clId="{B8632E9A-FCDA-4D56-BA76-D913CD72A49F}" dt="2019-08-28T06:29:14.501" v="811" actId="1036"/>
          <ac:grpSpMkLst>
            <pc:docMk/>
            <pc:sldMk cId="3434622222" sldId="481"/>
            <ac:grpSpMk id="12" creationId="{00000000-0000-0000-0000-000000000000}"/>
          </ac:grpSpMkLst>
        </pc:grpChg>
        <pc:grpChg chg="add del">
          <ac:chgData name="Loeber, Andreas (Heidelberg) DEU" userId="6ab36004-be4a-4732-8c61-56a0cb76869f" providerId="ADAL" clId="{B8632E9A-FCDA-4D56-BA76-D913CD72A49F}" dt="2019-08-28T06:34:40.966" v="1027"/>
          <ac:grpSpMkLst>
            <pc:docMk/>
            <pc:sldMk cId="3434622222" sldId="481"/>
            <ac:grpSpMk id="84" creationId="{3040F517-6648-4485-9EF6-53DAEDF0792C}"/>
          </ac:grpSpMkLst>
        </pc:grpChg>
        <pc:cxnChg chg="mod">
          <ac:chgData name="Loeber, Andreas (Heidelberg) DEU" userId="6ab36004-be4a-4732-8c61-56a0cb76869f" providerId="ADAL" clId="{B8632E9A-FCDA-4D56-BA76-D913CD72A49F}" dt="2019-08-28T06:40:53.742" v="1117" actId="208"/>
          <ac:cxnSpMkLst>
            <pc:docMk/>
            <pc:sldMk cId="3434622222" sldId="481"/>
            <ac:cxnSpMk id="13" creationId="{00000000-0000-0000-0000-000000000000}"/>
          </ac:cxnSpMkLst>
        </pc:cxnChg>
      </pc:sldChg>
      <pc:sldChg chg="add">
        <pc:chgData name="Loeber, Andreas (Heidelberg) DEU" userId="6ab36004-be4a-4732-8c61-56a0cb76869f" providerId="ADAL" clId="{B8632E9A-FCDA-4D56-BA76-D913CD72A49F}" dt="2019-08-27T13:39:56.032" v="56"/>
        <pc:sldMkLst>
          <pc:docMk/>
          <pc:sldMk cId="1250061539" sldId="482"/>
        </pc:sldMkLst>
      </pc:sldChg>
      <pc:sldChg chg="add">
        <pc:chgData name="Loeber, Andreas (Heidelberg) DEU" userId="6ab36004-be4a-4732-8c61-56a0cb76869f" providerId="ADAL" clId="{B8632E9A-FCDA-4D56-BA76-D913CD72A49F}" dt="2019-08-27T13:39:56.032" v="56"/>
        <pc:sldMkLst>
          <pc:docMk/>
          <pc:sldMk cId="374082841" sldId="483"/>
        </pc:sldMkLst>
      </pc:sldChg>
      <pc:sldChg chg="add">
        <pc:chgData name="Loeber, Andreas (Heidelberg) DEU" userId="6ab36004-be4a-4732-8c61-56a0cb76869f" providerId="ADAL" clId="{B8632E9A-FCDA-4D56-BA76-D913CD72A49F}" dt="2019-08-27T13:39:56.032" v="56"/>
        <pc:sldMkLst>
          <pc:docMk/>
          <pc:sldMk cId="839742747" sldId="484"/>
        </pc:sldMkLst>
      </pc:sldChg>
      <pc:sldChg chg="addSp delSp modSp">
        <pc:chgData name="Loeber, Andreas (Heidelberg) DEU" userId="6ab36004-be4a-4732-8c61-56a0cb76869f" providerId="ADAL" clId="{B8632E9A-FCDA-4D56-BA76-D913CD72A49F}" dt="2019-08-28T06:37:57.779" v="1053" actId="20577"/>
        <pc:sldMkLst>
          <pc:docMk/>
          <pc:sldMk cId="486806814" sldId="485"/>
        </pc:sldMkLst>
        <pc:spChg chg="mod">
          <ac:chgData name="Loeber, Andreas (Heidelberg) DEU" userId="6ab36004-be4a-4732-8c61-56a0cb76869f" providerId="ADAL" clId="{B8632E9A-FCDA-4D56-BA76-D913CD72A49F}" dt="2019-08-28T06:37:57.779" v="1053" actId="20577"/>
          <ac:spMkLst>
            <pc:docMk/>
            <pc:sldMk cId="486806814" sldId="485"/>
            <ac:spMk id="2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4:26.374" v="1023" actId="207"/>
          <ac:spMkLst>
            <pc:docMk/>
            <pc:sldMk cId="486806814" sldId="485"/>
            <ac:spMk id="3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22.555" v="1046" actId="465"/>
          <ac:spMkLst>
            <pc:docMk/>
            <pc:sldMk cId="486806814" sldId="485"/>
            <ac:spMk id="4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22.555" v="1046" actId="465"/>
          <ac:spMkLst>
            <pc:docMk/>
            <pc:sldMk cId="486806814" sldId="485"/>
            <ac:spMk id="6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22.555" v="1046" actId="465"/>
          <ac:spMkLst>
            <pc:docMk/>
            <pc:sldMk cId="486806814" sldId="485"/>
            <ac:spMk id="7" creationId="{00000000-0000-0000-0000-000000000000}"/>
          </ac:spMkLst>
        </pc:spChg>
        <pc:spChg chg="del mod">
          <ac:chgData name="Loeber, Andreas (Heidelberg) DEU" userId="6ab36004-be4a-4732-8c61-56a0cb76869f" providerId="ADAL" clId="{B8632E9A-FCDA-4D56-BA76-D913CD72A49F}" dt="2019-08-27T14:14:17.664" v="535"/>
          <ac:spMkLst>
            <pc:docMk/>
            <pc:sldMk cId="486806814" sldId="485"/>
            <ac:spMk id="18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22.555" v="1046" actId="465"/>
          <ac:spMkLst>
            <pc:docMk/>
            <pc:sldMk cId="486806814" sldId="485"/>
            <ac:spMk id="20" creationId="{18BDDCD4-6549-4D71-A63C-31C417AD3EA9}"/>
          </ac:spMkLst>
        </pc:spChg>
        <pc:spChg chg="del mod">
          <ac:chgData name="Loeber, Andreas (Heidelberg) DEU" userId="6ab36004-be4a-4732-8c61-56a0cb76869f" providerId="ADAL" clId="{B8632E9A-FCDA-4D56-BA76-D913CD72A49F}" dt="2019-08-27T14:14:17.664" v="535"/>
          <ac:spMkLst>
            <pc:docMk/>
            <pc:sldMk cId="486806814" sldId="485"/>
            <ac:spMk id="21" creationId="{00000000-0000-0000-0000-000000000000}"/>
          </ac:spMkLst>
        </pc:spChg>
        <pc:spChg chg="add mod">
          <ac:chgData name="Loeber, Andreas (Heidelberg) DEU" userId="6ab36004-be4a-4732-8c61-56a0cb76869f" providerId="ADAL" clId="{B8632E9A-FCDA-4D56-BA76-D913CD72A49F}" dt="2019-08-28T06:37:22.555" v="1046" actId="465"/>
          <ac:spMkLst>
            <pc:docMk/>
            <pc:sldMk cId="486806814" sldId="485"/>
            <ac:spMk id="23" creationId="{AA9301F8-E5F9-4788-B805-DFC9057B9851}"/>
          </ac:spMkLst>
        </pc:spChg>
        <pc:spChg chg="mod">
          <ac:chgData name="Loeber, Andreas (Heidelberg) DEU" userId="6ab36004-be4a-4732-8c61-56a0cb76869f" providerId="ADAL" clId="{B8632E9A-FCDA-4D56-BA76-D913CD72A49F}" dt="2019-08-28T06:37:22.555" v="1046" actId="465"/>
          <ac:spMkLst>
            <pc:docMk/>
            <pc:sldMk cId="486806814" sldId="485"/>
            <ac:spMk id="24" creationId="{00000000-0000-0000-0000-000000000000}"/>
          </ac:spMkLst>
        </pc:spChg>
        <pc:cxnChg chg="del mod">
          <ac:chgData name="Loeber, Andreas (Heidelberg) DEU" userId="6ab36004-be4a-4732-8c61-56a0cb76869f" providerId="ADAL" clId="{B8632E9A-FCDA-4D56-BA76-D913CD72A49F}" dt="2019-08-28T06:34:20.244" v="1022" actId="478"/>
          <ac:cxnSpMkLst>
            <pc:docMk/>
            <pc:sldMk cId="486806814" sldId="485"/>
            <ac:cxnSpMk id="22" creationId="{00000000-0000-0000-0000-000000000000}"/>
          </ac:cxnSpMkLst>
        </pc:cxnChg>
      </pc:sldChg>
      <pc:sldChg chg="addSp delSp modSp">
        <pc:chgData name="Loeber, Andreas (Heidelberg) DEU" userId="6ab36004-be4a-4732-8c61-56a0cb76869f" providerId="ADAL" clId="{B8632E9A-FCDA-4D56-BA76-D913CD72A49F}" dt="2019-08-28T06:38:00.289" v="1054" actId="20577"/>
        <pc:sldMkLst>
          <pc:docMk/>
          <pc:sldMk cId="524918126" sldId="486"/>
        </pc:sldMkLst>
        <pc:spChg chg="mod">
          <ac:chgData name="Loeber, Andreas (Heidelberg) DEU" userId="6ab36004-be4a-4732-8c61-56a0cb76869f" providerId="ADAL" clId="{B8632E9A-FCDA-4D56-BA76-D913CD72A49F}" dt="2019-08-28T06:38:00.289" v="1054" actId="20577"/>
          <ac:spMkLst>
            <pc:docMk/>
            <pc:sldMk cId="524918126" sldId="486"/>
            <ac:spMk id="2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5:56.753" v="1028" actId="14100"/>
          <ac:spMkLst>
            <pc:docMk/>
            <pc:sldMk cId="524918126" sldId="486"/>
            <ac:spMk id="3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02.942" v="1039" actId="465"/>
          <ac:spMkLst>
            <pc:docMk/>
            <pc:sldMk cId="524918126" sldId="486"/>
            <ac:spMk id="4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02.942" v="1039" actId="465"/>
          <ac:spMkLst>
            <pc:docMk/>
            <pc:sldMk cId="524918126" sldId="486"/>
            <ac:spMk id="5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02.942" v="1039" actId="465"/>
          <ac:spMkLst>
            <pc:docMk/>
            <pc:sldMk cId="524918126" sldId="486"/>
            <ac:spMk id="20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02.942" v="1039" actId="465"/>
          <ac:spMkLst>
            <pc:docMk/>
            <pc:sldMk cId="524918126" sldId="486"/>
            <ac:spMk id="21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02.942" v="1039" actId="465"/>
          <ac:spMkLst>
            <pc:docMk/>
            <pc:sldMk cId="524918126" sldId="486"/>
            <ac:spMk id="22" creationId="{00000000-0000-0000-0000-000000000000}"/>
          </ac:spMkLst>
        </pc:spChg>
        <pc:spChg chg="del">
          <ac:chgData name="Loeber, Andreas (Heidelberg) DEU" userId="6ab36004-be4a-4732-8c61-56a0cb76869f" providerId="ADAL" clId="{B8632E9A-FCDA-4D56-BA76-D913CD72A49F}" dt="2019-08-27T14:14:25.672" v="537"/>
          <ac:spMkLst>
            <pc:docMk/>
            <pc:sldMk cId="524918126" sldId="486"/>
            <ac:spMk id="23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8T06:37:02.942" v="1039" actId="465"/>
          <ac:spMkLst>
            <pc:docMk/>
            <pc:sldMk cId="524918126" sldId="486"/>
            <ac:spMk id="24" creationId="{00000000-0000-0000-0000-000000000000}"/>
          </ac:spMkLst>
        </pc:spChg>
        <pc:spChg chg="del">
          <ac:chgData name="Loeber, Andreas (Heidelberg) DEU" userId="6ab36004-be4a-4732-8c61-56a0cb76869f" providerId="ADAL" clId="{B8632E9A-FCDA-4D56-BA76-D913CD72A49F}" dt="2019-08-27T14:14:25.672" v="537"/>
          <ac:spMkLst>
            <pc:docMk/>
            <pc:sldMk cId="524918126" sldId="486"/>
            <ac:spMk id="25" creationId="{00000000-0000-0000-0000-000000000000}"/>
          </ac:spMkLst>
        </pc:spChg>
        <pc:spChg chg="del">
          <ac:chgData name="Loeber, Andreas (Heidelberg) DEU" userId="6ab36004-be4a-4732-8c61-56a0cb76869f" providerId="ADAL" clId="{B8632E9A-FCDA-4D56-BA76-D913CD72A49F}" dt="2019-08-27T14:14:25.672" v="537"/>
          <ac:spMkLst>
            <pc:docMk/>
            <pc:sldMk cId="524918126" sldId="486"/>
            <ac:spMk id="27" creationId="{00000000-0000-0000-0000-000000000000}"/>
          </ac:spMkLst>
        </pc:spChg>
        <pc:spChg chg="add mod">
          <ac:chgData name="Loeber, Andreas (Heidelberg) DEU" userId="6ab36004-be4a-4732-8c61-56a0cb76869f" providerId="ADAL" clId="{B8632E9A-FCDA-4D56-BA76-D913CD72A49F}" dt="2019-08-28T06:37:02.942" v="1039" actId="465"/>
          <ac:spMkLst>
            <pc:docMk/>
            <pc:sldMk cId="524918126" sldId="486"/>
            <ac:spMk id="28" creationId="{6C0DEDF2-40DD-4A43-929B-B512FF51E34D}"/>
          </ac:spMkLst>
        </pc:spChg>
        <pc:spChg chg="del">
          <ac:chgData name="Loeber, Andreas (Heidelberg) DEU" userId="6ab36004-be4a-4732-8c61-56a0cb76869f" providerId="ADAL" clId="{B8632E9A-FCDA-4D56-BA76-D913CD72A49F}" dt="2019-08-27T14:14:25.672" v="537"/>
          <ac:spMkLst>
            <pc:docMk/>
            <pc:sldMk cId="524918126" sldId="486"/>
            <ac:spMk id="29" creationId="{00000000-0000-0000-0000-000000000000}"/>
          </ac:spMkLst>
        </pc:spChg>
        <pc:spChg chg="add del">
          <ac:chgData name="Loeber, Andreas (Heidelberg) DEU" userId="6ab36004-be4a-4732-8c61-56a0cb76869f" providerId="ADAL" clId="{B8632E9A-FCDA-4D56-BA76-D913CD72A49F}" dt="2019-08-28T06:36:22.543" v="1034" actId="478"/>
          <ac:spMkLst>
            <pc:docMk/>
            <pc:sldMk cId="524918126" sldId="486"/>
            <ac:spMk id="51" creationId="{2ED7690C-081E-4698-AF17-0DCD7216F837}"/>
          </ac:spMkLst>
        </pc:spChg>
        <pc:grpChg chg="add del">
          <ac:chgData name="Loeber, Andreas (Heidelberg) DEU" userId="6ab36004-be4a-4732-8c61-56a0cb76869f" providerId="ADAL" clId="{B8632E9A-FCDA-4D56-BA76-D913CD72A49F}" dt="2019-08-28T06:36:14.872" v="1032"/>
          <ac:grpSpMkLst>
            <pc:docMk/>
            <pc:sldMk cId="524918126" sldId="486"/>
            <ac:grpSpMk id="30" creationId="{111CE466-F188-42AB-B212-03833F6E4F53}"/>
          </ac:grpSpMkLst>
        </pc:grpChg>
        <pc:cxnChg chg="del">
          <ac:chgData name="Loeber, Andreas (Heidelberg) DEU" userId="6ab36004-be4a-4732-8c61-56a0cb76869f" providerId="ADAL" clId="{B8632E9A-FCDA-4D56-BA76-D913CD72A49F}" dt="2019-08-27T14:14:33.268" v="540" actId="478"/>
          <ac:cxnSpMkLst>
            <pc:docMk/>
            <pc:sldMk cId="524918126" sldId="486"/>
            <ac:cxnSpMk id="26" creationId="{00000000-0000-0000-0000-000000000000}"/>
          </ac:cxnSpMkLst>
        </pc:cxnChg>
      </pc:sldChg>
      <pc:sldChg chg="add del">
        <pc:chgData name="Loeber, Andreas (Heidelberg) DEU" userId="6ab36004-be4a-4732-8c61-56a0cb76869f" providerId="ADAL" clId="{B8632E9A-FCDA-4D56-BA76-D913CD72A49F}" dt="2019-08-28T06:39:52.346" v="1110"/>
        <pc:sldMkLst>
          <pc:docMk/>
          <pc:sldMk cId="2517090047" sldId="487"/>
        </pc:sldMkLst>
      </pc:sldChg>
      <pc:sldChg chg="modSp">
        <pc:chgData name="Loeber, Andreas (Heidelberg) DEU" userId="6ab36004-be4a-4732-8c61-56a0cb76869f" providerId="ADAL" clId="{B8632E9A-FCDA-4D56-BA76-D913CD72A49F}" dt="2019-08-27T14:26:39.476" v="641" actId="554"/>
        <pc:sldMkLst>
          <pc:docMk/>
          <pc:sldMk cId="3401404070" sldId="488"/>
        </pc:sldMkLst>
        <pc:spChg chg="mod">
          <ac:chgData name="Loeber, Andreas (Heidelberg) DEU" userId="6ab36004-be4a-4732-8c61-56a0cb76869f" providerId="ADAL" clId="{B8632E9A-FCDA-4D56-BA76-D913CD72A49F}" dt="2019-08-27T14:26:39.476" v="641" actId="554"/>
          <ac:spMkLst>
            <pc:docMk/>
            <pc:sldMk cId="3401404070" sldId="488"/>
            <ac:spMk id="20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7T14:26:39.476" v="641" actId="554"/>
          <ac:spMkLst>
            <pc:docMk/>
            <pc:sldMk cId="3401404070" sldId="488"/>
            <ac:spMk id="24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7T14:24:46.774" v="630" actId="20577"/>
          <ac:spMkLst>
            <pc:docMk/>
            <pc:sldMk cId="3401404070" sldId="488"/>
            <ac:spMk id="26" creationId="{00000000-0000-0000-0000-000000000000}"/>
          </ac:spMkLst>
        </pc:spChg>
        <pc:spChg chg="mod">
          <ac:chgData name="Loeber, Andreas (Heidelberg) DEU" userId="6ab36004-be4a-4732-8c61-56a0cb76869f" providerId="ADAL" clId="{B8632E9A-FCDA-4D56-BA76-D913CD72A49F}" dt="2019-08-27T14:22:43.523" v="586" actId="1076"/>
          <ac:spMkLst>
            <pc:docMk/>
            <pc:sldMk cId="3401404070" sldId="488"/>
            <ac:spMk id="28" creationId="{00000000-0000-0000-0000-000000000000}"/>
          </ac:spMkLst>
        </pc:spChg>
      </pc:sldChg>
      <pc:sldChg chg="addSp delSp modSp">
        <pc:chgData name="Loeber, Andreas (Heidelberg) DEU" userId="6ab36004-be4a-4732-8c61-56a0cb76869f" providerId="ADAL" clId="{B8632E9A-FCDA-4D56-BA76-D913CD72A49F}" dt="2019-08-28T06:40:37.866" v="1116" actId="1076"/>
        <pc:sldMkLst>
          <pc:docMk/>
          <pc:sldMk cId="1029312049" sldId="489"/>
        </pc:sldMkLst>
        <pc:spChg chg="mod">
          <ac:chgData name="Loeber, Andreas (Heidelberg) DEU" userId="6ab36004-be4a-4732-8c61-56a0cb76869f" providerId="ADAL" clId="{B8632E9A-FCDA-4D56-BA76-D913CD72A49F}" dt="2019-08-27T14:28:17.430" v="644" actId="108"/>
          <ac:spMkLst>
            <pc:docMk/>
            <pc:sldMk cId="1029312049" sldId="489"/>
            <ac:spMk id="31" creationId="{00000000-0000-0000-0000-000000000000}"/>
          </ac:spMkLst>
        </pc:spChg>
        <pc:picChg chg="add mod">
          <ac:chgData name="Loeber, Andreas (Heidelberg) DEU" userId="6ab36004-be4a-4732-8c61-56a0cb76869f" providerId="ADAL" clId="{B8632E9A-FCDA-4D56-BA76-D913CD72A49F}" dt="2019-08-28T06:40:37.866" v="1116" actId="1076"/>
          <ac:picMkLst>
            <pc:docMk/>
            <pc:sldMk cId="1029312049" sldId="489"/>
            <ac:picMk id="3" creationId="{D6F5FBE5-E9AC-4461-B8E5-FDBEC256F5D9}"/>
          </ac:picMkLst>
        </pc:picChg>
        <pc:picChg chg="del">
          <ac:chgData name="Loeber, Andreas (Heidelberg) DEU" userId="6ab36004-be4a-4732-8c61-56a0cb76869f" providerId="ADAL" clId="{B8632E9A-FCDA-4D56-BA76-D913CD72A49F}" dt="2019-08-28T06:40:27.239" v="1111" actId="478"/>
          <ac:picMkLst>
            <pc:docMk/>
            <pc:sldMk cId="1029312049" sldId="489"/>
            <ac:picMk id="8" creationId="{00000000-0000-0000-0000-000000000000}"/>
          </ac:picMkLst>
        </pc:picChg>
      </pc:sldChg>
      <pc:sldChg chg="modSp add">
        <pc:chgData name="Loeber, Andreas (Heidelberg) DEU" userId="6ab36004-be4a-4732-8c61-56a0cb76869f" providerId="ADAL" clId="{B8632E9A-FCDA-4D56-BA76-D913CD72A49F}" dt="2019-08-27T13:39:35.573" v="47" actId="20577"/>
        <pc:sldMkLst>
          <pc:docMk/>
          <pc:sldMk cId="3504921356" sldId="491"/>
        </pc:sldMkLst>
        <pc:spChg chg="mod">
          <ac:chgData name="Loeber, Andreas (Heidelberg) DEU" userId="6ab36004-be4a-4732-8c61-56a0cb76869f" providerId="ADAL" clId="{B8632E9A-FCDA-4D56-BA76-D913CD72A49F}" dt="2019-08-27T13:39:35.573" v="47" actId="20577"/>
          <ac:spMkLst>
            <pc:docMk/>
            <pc:sldMk cId="3504921356" sldId="491"/>
            <ac:spMk id="2" creationId="{93A01756-0A89-4119-86AF-E9B3FCB192F1}"/>
          </ac:spMkLst>
        </pc:spChg>
      </pc:sldChg>
      <pc:sldChg chg="addSp delSp modSp add">
        <pc:chgData name="Loeber, Andreas (Heidelberg) DEU" userId="6ab36004-be4a-4732-8c61-56a0cb76869f" providerId="ADAL" clId="{B8632E9A-FCDA-4D56-BA76-D913CD72A49F}" dt="2019-08-28T06:38:54.506" v="1109" actId="207"/>
        <pc:sldMkLst>
          <pc:docMk/>
          <pc:sldMk cId="1882530988" sldId="492"/>
        </pc:sldMkLst>
        <pc:spChg chg="mod">
          <ac:chgData name="Loeber, Andreas (Heidelberg) DEU" userId="6ab36004-be4a-4732-8c61-56a0cb76869f" providerId="ADAL" clId="{B8632E9A-FCDA-4D56-BA76-D913CD72A49F}" dt="2019-08-28T06:38:07.878" v="1057" actId="20577"/>
          <ac:spMkLst>
            <pc:docMk/>
            <pc:sldMk cId="1882530988" sldId="492"/>
            <ac:spMk id="2" creationId="{6758A95E-41AB-46C6-AF77-F4F9FDA4EBBE}"/>
          </ac:spMkLst>
        </pc:spChg>
        <pc:spChg chg="add mod">
          <ac:chgData name="Loeber, Andreas (Heidelberg) DEU" userId="6ab36004-be4a-4732-8c61-56a0cb76869f" providerId="ADAL" clId="{B8632E9A-FCDA-4D56-BA76-D913CD72A49F}" dt="2019-08-28T06:38:54.506" v="1109" actId="207"/>
          <ac:spMkLst>
            <pc:docMk/>
            <pc:sldMk cId="1882530988" sldId="492"/>
            <ac:spMk id="3" creationId="{3DEA2505-F514-464B-8FE2-CFB1C26A3D05}"/>
          </ac:spMkLst>
        </pc:spChg>
        <pc:spChg chg="add mod">
          <ac:chgData name="Loeber, Andreas (Heidelberg) DEU" userId="6ab36004-be4a-4732-8c61-56a0cb76869f" providerId="ADAL" clId="{B8632E9A-FCDA-4D56-BA76-D913CD72A49F}" dt="2019-08-28T06:38:47.392" v="1108" actId="1035"/>
          <ac:spMkLst>
            <pc:docMk/>
            <pc:sldMk cId="1882530988" sldId="492"/>
            <ac:spMk id="4" creationId="{660A7C10-E09A-4894-8587-AD9157F9CE28}"/>
          </ac:spMkLst>
        </pc:spChg>
        <pc:spChg chg="add mod">
          <ac:chgData name="Loeber, Andreas (Heidelberg) DEU" userId="6ab36004-be4a-4732-8c61-56a0cb76869f" providerId="ADAL" clId="{B8632E9A-FCDA-4D56-BA76-D913CD72A49F}" dt="2019-08-28T06:38:39.477" v="1063" actId="1076"/>
          <ac:spMkLst>
            <pc:docMk/>
            <pc:sldMk cId="1882530988" sldId="492"/>
            <ac:spMk id="5" creationId="{522F95E1-CA00-4937-A3C4-4E1A5D5F0D55}"/>
          </ac:spMkLst>
        </pc:spChg>
        <pc:spChg chg="add mod">
          <ac:chgData name="Loeber, Andreas (Heidelberg) DEU" userId="6ab36004-be4a-4732-8c61-56a0cb76869f" providerId="ADAL" clId="{B8632E9A-FCDA-4D56-BA76-D913CD72A49F}" dt="2019-08-28T06:38:39.477" v="1063" actId="1076"/>
          <ac:spMkLst>
            <pc:docMk/>
            <pc:sldMk cId="1882530988" sldId="492"/>
            <ac:spMk id="6" creationId="{FD3EF761-7A81-4755-9B60-877DA9EA3D78}"/>
          </ac:spMkLst>
        </pc:spChg>
        <pc:spChg chg="add mod">
          <ac:chgData name="Loeber, Andreas (Heidelberg) DEU" userId="6ab36004-be4a-4732-8c61-56a0cb76869f" providerId="ADAL" clId="{B8632E9A-FCDA-4D56-BA76-D913CD72A49F}" dt="2019-08-28T06:38:39.477" v="1063" actId="1076"/>
          <ac:spMkLst>
            <pc:docMk/>
            <pc:sldMk cId="1882530988" sldId="492"/>
            <ac:spMk id="7" creationId="{6E91C602-0196-41BA-974E-F6B48FE59AD7}"/>
          </ac:spMkLst>
        </pc:spChg>
        <pc:spChg chg="add mod">
          <ac:chgData name="Loeber, Andreas (Heidelberg) DEU" userId="6ab36004-be4a-4732-8c61-56a0cb76869f" providerId="ADAL" clId="{B8632E9A-FCDA-4D56-BA76-D913CD72A49F}" dt="2019-08-28T06:38:39.477" v="1063" actId="1076"/>
          <ac:spMkLst>
            <pc:docMk/>
            <pc:sldMk cId="1882530988" sldId="492"/>
            <ac:spMk id="8" creationId="{D60756B9-60EE-4361-BE5B-EEC911D29990}"/>
          </ac:spMkLst>
        </pc:spChg>
        <pc:spChg chg="add">
          <ac:chgData name="Loeber, Andreas (Heidelberg) DEU" userId="6ab36004-be4a-4732-8c61-56a0cb76869f" providerId="ADAL" clId="{B8632E9A-FCDA-4D56-BA76-D913CD72A49F}" dt="2019-08-28T06:38:26.670" v="1060"/>
          <ac:spMkLst>
            <pc:docMk/>
            <pc:sldMk cId="1882530988" sldId="492"/>
            <ac:spMk id="12" creationId="{7E016808-0769-46B7-A1C4-659C803A38DA}"/>
          </ac:spMkLst>
        </pc:spChg>
        <pc:spChg chg="add">
          <ac:chgData name="Loeber, Andreas (Heidelberg) DEU" userId="6ab36004-be4a-4732-8c61-56a0cb76869f" providerId="ADAL" clId="{B8632E9A-FCDA-4D56-BA76-D913CD72A49F}" dt="2019-08-28T06:38:26.670" v="1060"/>
          <ac:spMkLst>
            <pc:docMk/>
            <pc:sldMk cId="1882530988" sldId="492"/>
            <ac:spMk id="14" creationId="{DD3EA57B-6786-467A-B6ED-250D9F54A6CD}"/>
          </ac:spMkLst>
        </pc:spChg>
        <pc:cxnChg chg="add del">
          <ac:chgData name="Loeber, Andreas (Heidelberg) DEU" userId="6ab36004-be4a-4732-8c61-56a0cb76869f" providerId="ADAL" clId="{B8632E9A-FCDA-4D56-BA76-D913CD72A49F}" dt="2019-08-28T06:38:20.338" v="1059"/>
          <ac:cxnSpMkLst>
            <pc:docMk/>
            <pc:sldMk cId="1882530988" sldId="492"/>
            <ac:cxnSpMk id="9" creationId="{872238D3-CE95-4692-93C4-BCDB824FA308}"/>
          </ac:cxnSpMkLst>
        </pc:cxnChg>
        <pc:cxnChg chg="add del">
          <ac:chgData name="Loeber, Andreas (Heidelberg) DEU" userId="6ab36004-be4a-4732-8c61-56a0cb76869f" providerId="ADAL" clId="{B8632E9A-FCDA-4D56-BA76-D913CD72A49F}" dt="2019-08-28T06:38:20.338" v="1059"/>
          <ac:cxnSpMkLst>
            <pc:docMk/>
            <pc:sldMk cId="1882530988" sldId="492"/>
            <ac:cxnSpMk id="10" creationId="{B540B905-A1D7-41CD-BBE6-A925CAEDB30D}"/>
          </ac:cxnSpMkLst>
        </pc:cxnChg>
        <pc:cxnChg chg="add">
          <ac:chgData name="Loeber, Andreas (Heidelberg) DEU" userId="6ab36004-be4a-4732-8c61-56a0cb76869f" providerId="ADAL" clId="{B8632E9A-FCDA-4D56-BA76-D913CD72A49F}" dt="2019-08-28T06:38:26.670" v="1060"/>
          <ac:cxnSpMkLst>
            <pc:docMk/>
            <pc:sldMk cId="1882530988" sldId="492"/>
            <ac:cxnSpMk id="11" creationId="{26D92768-73E4-4B77-9BBD-4826D3093B5C}"/>
          </ac:cxnSpMkLst>
        </pc:cxnChg>
        <pc:cxnChg chg="add">
          <ac:chgData name="Loeber, Andreas (Heidelberg) DEU" userId="6ab36004-be4a-4732-8c61-56a0cb76869f" providerId="ADAL" clId="{B8632E9A-FCDA-4D56-BA76-D913CD72A49F}" dt="2019-08-28T06:38:26.670" v="1060"/>
          <ac:cxnSpMkLst>
            <pc:docMk/>
            <pc:sldMk cId="1882530988" sldId="492"/>
            <ac:cxnSpMk id="13" creationId="{FC69CC6C-05F4-47E4-BC42-9E0A84DD40A0}"/>
          </ac:cxnSpMkLst>
        </pc:cxnChg>
      </pc:sldChg>
      <pc:sldMasterChg chg="modSp">
        <pc:chgData name="Loeber, Andreas (Heidelberg) DEU" userId="6ab36004-be4a-4732-8c61-56a0cb76869f" providerId="ADAL" clId="{B8632E9A-FCDA-4D56-BA76-D913CD72A49F}" dt="2019-08-27T13:36:52.638" v="35" actId="6549"/>
        <pc:sldMasterMkLst>
          <pc:docMk/>
          <pc:sldMasterMk cId="1857893582" sldId="2147483648"/>
        </pc:sldMasterMkLst>
        <pc:spChg chg="mod">
          <ac:chgData name="Loeber, Andreas (Heidelberg) DEU" userId="6ab36004-be4a-4732-8c61-56a0cb76869f" providerId="ADAL" clId="{B8632E9A-FCDA-4D56-BA76-D913CD72A49F}" dt="2019-08-27T13:36:52.638" v="35" actId="6549"/>
          <ac:spMkLst>
            <pc:docMk/>
            <pc:sldMasterMk cId="1857893582" sldId="2147483648"/>
            <ac:spMk id="6" creationId="{00000000-0000-0000-0000-000000000000}"/>
          </ac:spMkLst>
        </pc:sp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7FEAFD-E43E-4D6B-A40D-0A18AE634F06}" type="datetimeFigureOut">
              <a:rPr lang="en-GB" smtClean="0"/>
              <a:t>11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873A2D-A889-49FA-9DB9-4F11C1450D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2192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873A2D-A889-49FA-9DB9-4F11C1450D27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613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483392" y="1578824"/>
            <a:ext cx="8328820" cy="5158710"/>
            <a:chOff x="695324" y="167852"/>
            <a:chExt cx="10801351" cy="6690148"/>
          </a:xfrm>
          <a:solidFill>
            <a:schemeClr val="bg1">
              <a:lumMod val="95000"/>
            </a:schemeClr>
          </a:solidFill>
        </p:grpSpPr>
        <p:grpSp>
          <p:nvGrpSpPr>
            <p:cNvPr id="4" name="Group 8"/>
            <p:cNvGrpSpPr>
              <a:grpSpLocks/>
            </p:cNvGrpSpPr>
            <p:nvPr/>
          </p:nvGrpSpPr>
          <p:grpSpPr bwMode="auto">
            <a:xfrm>
              <a:off x="695324" y="167852"/>
              <a:ext cx="4328504" cy="3803099"/>
              <a:chOff x="0" y="0"/>
              <a:chExt cx="2014753" cy="1635213"/>
            </a:xfrm>
            <a:grpFill/>
          </p:grpSpPr>
          <p:sp>
            <p:nvSpPr>
              <p:cNvPr id="175" name="AutoShape 9"/>
              <p:cNvSpPr>
                <a:spLocks/>
              </p:cNvSpPr>
              <p:nvPr/>
            </p:nvSpPr>
            <p:spPr bwMode="auto">
              <a:xfrm>
                <a:off x="1462089" y="90437"/>
                <a:ext cx="495300" cy="59339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5105" y="2560"/>
                    </a:moveTo>
                    <a:lnTo>
                      <a:pt x="5007" y="2560"/>
                    </a:lnTo>
                    <a:lnTo>
                      <a:pt x="5007" y="2626"/>
                    </a:lnTo>
                    <a:lnTo>
                      <a:pt x="4810" y="2691"/>
                    </a:lnTo>
                    <a:lnTo>
                      <a:pt x="4712" y="2823"/>
                    </a:lnTo>
                    <a:lnTo>
                      <a:pt x="4712" y="2888"/>
                    </a:lnTo>
                    <a:lnTo>
                      <a:pt x="4614" y="3020"/>
                    </a:lnTo>
                    <a:lnTo>
                      <a:pt x="4712" y="3085"/>
                    </a:lnTo>
                    <a:lnTo>
                      <a:pt x="4712" y="3873"/>
                    </a:lnTo>
                    <a:lnTo>
                      <a:pt x="4614" y="4004"/>
                    </a:lnTo>
                    <a:lnTo>
                      <a:pt x="3632" y="4004"/>
                    </a:lnTo>
                    <a:lnTo>
                      <a:pt x="3632" y="4070"/>
                    </a:lnTo>
                    <a:lnTo>
                      <a:pt x="3436" y="4201"/>
                    </a:lnTo>
                    <a:lnTo>
                      <a:pt x="3338" y="4201"/>
                    </a:lnTo>
                    <a:lnTo>
                      <a:pt x="2749" y="4267"/>
                    </a:lnTo>
                    <a:lnTo>
                      <a:pt x="2749" y="4530"/>
                    </a:lnTo>
                    <a:lnTo>
                      <a:pt x="2356" y="4792"/>
                    </a:lnTo>
                    <a:lnTo>
                      <a:pt x="2356" y="4924"/>
                    </a:lnTo>
                    <a:lnTo>
                      <a:pt x="2454" y="5055"/>
                    </a:lnTo>
                    <a:lnTo>
                      <a:pt x="2650" y="5120"/>
                    </a:lnTo>
                    <a:lnTo>
                      <a:pt x="2847" y="5120"/>
                    </a:lnTo>
                    <a:lnTo>
                      <a:pt x="3043" y="5186"/>
                    </a:lnTo>
                    <a:lnTo>
                      <a:pt x="3338" y="5186"/>
                    </a:lnTo>
                    <a:lnTo>
                      <a:pt x="3338" y="5514"/>
                    </a:lnTo>
                    <a:lnTo>
                      <a:pt x="3240" y="5646"/>
                    </a:lnTo>
                    <a:lnTo>
                      <a:pt x="3240" y="5777"/>
                    </a:lnTo>
                    <a:lnTo>
                      <a:pt x="3338" y="5908"/>
                    </a:lnTo>
                    <a:lnTo>
                      <a:pt x="3338" y="6237"/>
                    </a:lnTo>
                    <a:lnTo>
                      <a:pt x="3141" y="6368"/>
                    </a:lnTo>
                    <a:lnTo>
                      <a:pt x="2847" y="6368"/>
                    </a:lnTo>
                    <a:lnTo>
                      <a:pt x="2749" y="6434"/>
                    </a:lnTo>
                    <a:lnTo>
                      <a:pt x="2749" y="6565"/>
                    </a:lnTo>
                    <a:lnTo>
                      <a:pt x="2650" y="6631"/>
                    </a:lnTo>
                    <a:lnTo>
                      <a:pt x="2160" y="6631"/>
                    </a:lnTo>
                    <a:lnTo>
                      <a:pt x="2061" y="6696"/>
                    </a:lnTo>
                    <a:lnTo>
                      <a:pt x="2061" y="6762"/>
                    </a:lnTo>
                    <a:lnTo>
                      <a:pt x="1865" y="6827"/>
                    </a:lnTo>
                    <a:lnTo>
                      <a:pt x="1570" y="6959"/>
                    </a:lnTo>
                    <a:lnTo>
                      <a:pt x="1374" y="7024"/>
                    </a:lnTo>
                    <a:lnTo>
                      <a:pt x="785" y="7024"/>
                    </a:lnTo>
                    <a:lnTo>
                      <a:pt x="687" y="7090"/>
                    </a:lnTo>
                    <a:lnTo>
                      <a:pt x="490" y="7156"/>
                    </a:lnTo>
                    <a:lnTo>
                      <a:pt x="490" y="7221"/>
                    </a:lnTo>
                    <a:lnTo>
                      <a:pt x="392" y="7287"/>
                    </a:lnTo>
                    <a:lnTo>
                      <a:pt x="294" y="7287"/>
                    </a:lnTo>
                    <a:lnTo>
                      <a:pt x="294" y="7353"/>
                    </a:lnTo>
                    <a:lnTo>
                      <a:pt x="196" y="7353"/>
                    </a:lnTo>
                    <a:lnTo>
                      <a:pt x="98" y="7418"/>
                    </a:lnTo>
                    <a:lnTo>
                      <a:pt x="0" y="7550"/>
                    </a:lnTo>
                    <a:lnTo>
                      <a:pt x="196" y="7812"/>
                    </a:lnTo>
                    <a:lnTo>
                      <a:pt x="294" y="7878"/>
                    </a:lnTo>
                    <a:lnTo>
                      <a:pt x="490" y="7878"/>
                    </a:lnTo>
                    <a:lnTo>
                      <a:pt x="883" y="8075"/>
                    </a:lnTo>
                    <a:lnTo>
                      <a:pt x="1178" y="8272"/>
                    </a:lnTo>
                    <a:lnTo>
                      <a:pt x="1178" y="8337"/>
                    </a:lnTo>
                    <a:lnTo>
                      <a:pt x="1276" y="8403"/>
                    </a:lnTo>
                    <a:lnTo>
                      <a:pt x="1963" y="8403"/>
                    </a:lnTo>
                    <a:lnTo>
                      <a:pt x="1963" y="8272"/>
                    </a:lnTo>
                    <a:lnTo>
                      <a:pt x="2061" y="8272"/>
                    </a:lnTo>
                    <a:lnTo>
                      <a:pt x="2160" y="8206"/>
                    </a:lnTo>
                    <a:lnTo>
                      <a:pt x="2552" y="8469"/>
                    </a:lnTo>
                    <a:lnTo>
                      <a:pt x="2552" y="8534"/>
                    </a:lnTo>
                    <a:lnTo>
                      <a:pt x="2160" y="8666"/>
                    </a:lnTo>
                    <a:lnTo>
                      <a:pt x="2061" y="8731"/>
                    </a:lnTo>
                    <a:lnTo>
                      <a:pt x="2061" y="8797"/>
                    </a:lnTo>
                    <a:lnTo>
                      <a:pt x="2160" y="8863"/>
                    </a:lnTo>
                    <a:lnTo>
                      <a:pt x="2160" y="8994"/>
                    </a:lnTo>
                    <a:lnTo>
                      <a:pt x="2061" y="8994"/>
                    </a:lnTo>
                    <a:lnTo>
                      <a:pt x="1865" y="8928"/>
                    </a:lnTo>
                    <a:lnTo>
                      <a:pt x="1767" y="8863"/>
                    </a:lnTo>
                    <a:lnTo>
                      <a:pt x="1570" y="8797"/>
                    </a:lnTo>
                    <a:lnTo>
                      <a:pt x="1570" y="8863"/>
                    </a:lnTo>
                    <a:lnTo>
                      <a:pt x="1472" y="8928"/>
                    </a:lnTo>
                    <a:lnTo>
                      <a:pt x="1472" y="9125"/>
                    </a:lnTo>
                    <a:lnTo>
                      <a:pt x="1276" y="9125"/>
                    </a:lnTo>
                    <a:lnTo>
                      <a:pt x="1178" y="9060"/>
                    </a:lnTo>
                    <a:lnTo>
                      <a:pt x="981" y="8994"/>
                    </a:lnTo>
                    <a:lnTo>
                      <a:pt x="883" y="8928"/>
                    </a:lnTo>
                    <a:lnTo>
                      <a:pt x="785" y="8994"/>
                    </a:lnTo>
                    <a:lnTo>
                      <a:pt x="589" y="9060"/>
                    </a:lnTo>
                    <a:lnTo>
                      <a:pt x="392" y="9191"/>
                    </a:lnTo>
                    <a:lnTo>
                      <a:pt x="490" y="9257"/>
                    </a:lnTo>
                    <a:lnTo>
                      <a:pt x="687" y="9519"/>
                    </a:lnTo>
                    <a:lnTo>
                      <a:pt x="1080" y="9651"/>
                    </a:lnTo>
                    <a:lnTo>
                      <a:pt x="1178" y="9716"/>
                    </a:lnTo>
                    <a:lnTo>
                      <a:pt x="1276" y="9716"/>
                    </a:lnTo>
                    <a:lnTo>
                      <a:pt x="1276" y="9979"/>
                    </a:lnTo>
                    <a:lnTo>
                      <a:pt x="1472" y="9979"/>
                    </a:lnTo>
                    <a:lnTo>
                      <a:pt x="1865" y="10110"/>
                    </a:lnTo>
                    <a:lnTo>
                      <a:pt x="2160" y="10307"/>
                    </a:lnTo>
                    <a:lnTo>
                      <a:pt x="2160" y="10373"/>
                    </a:lnTo>
                    <a:lnTo>
                      <a:pt x="2258" y="10438"/>
                    </a:lnTo>
                    <a:lnTo>
                      <a:pt x="2650" y="10438"/>
                    </a:lnTo>
                    <a:lnTo>
                      <a:pt x="3240" y="10241"/>
                    </a:lnTo>
                    <a:lnTo>
                      <a:pt x="3436" y="10110"/>
                    </a:lnTo>
                    <a:lnTo>
                      <a:pt x="3829" y="9979"/>
                    </a:lnTo>
                    <a:lnTo>
                      <a:pt x="4614" y="9979"/>
                    </a:lnTo>
                    <a:lnTo>
                      <a:pt x="4810" y="9913"/>
                    </a:lnTo>
                    <a:lnTo>
                      <a:pt x="5400" y="9913"/>
                    </a:lnTo>
                    <a:lnTo>
                      <a:pt x="5596" y="10044"/>
                    </a:lnTo>
                    <a:lnTo>
                      <a:pt x="5792" y="10307"/>
                    </a:lnTo>
                    <a:lnTo>
                      <a:pt x="5890" y="10307"/>
                    </a:lnTo>
                    <a:lnTo>
                      <a:pt x="6087" y="10373"/>
                    </a:lnTo>
                    <a:lnTo>
                      <a:pt x="6185" y="10438"/>
                    </a:lnTo>
                    <a:lnTo>
                      <a:pt x="6283" y="10635"/>
                    </a:lnTo>
                    <a:lnTo>
                      <a:pt x="6480" y="10832"/>
                    </a:lnTo>
                    <a:lnTo>
                      <a:pt x="6480" y="11489"/>
                    </a:lnTo>
                    <a:lnTo>
                      <a:pt x="6578" y="11555"/>
                    </a:lnTo>
                    <a:lnTo>
                      <a:pt x="6872" y="12145"/>
                    </a:lnTo>
                    <a:lnTo>
                      <a:pt x="6970" y="12408"/>
                    </a:lnTo>
                    <a:lnTo>
                      <a:pt x="6872" y="12605"/>
                    </a:lnTo>
                    <a:lnTo>
                      <a:pt x="6872" y="12802"/>
                    </a:lnTo>
                    <a:lnTo>
                      <a:pt x="7069" y="13065"/>
                    </a:lnTo>
                    <a:lnTo>
                      <a:pt x="7265" y="13196"/>
                    </a:lnTo>
                    <a:lnTo>
                      <a:pt x="7265" y="13327"/>
                    </a:lnTo>
                    <a:lnTo>
                      <a:pt x="7167" y="13393"/>
                    </a:lnTo>
                    <a:lnTo>
                      <a:pt x="7167" y="13458"/>
                    </a:lnTo>
                    <a:lnTo>
                      <a:pt x="6872" y="13458"/>
                    </a:lnTo>
                    <a:lnTo>
                      <a:pt x="6774" y="13524"/>
                    </a:lnTo>
                    <a:lnTo>
                      <a:pt x="6774" y="13655"/>
                    </a:lnTo>
                    <a:lnTo>
                      <a:pt x="7069" y="13852"/>
                    </a:lnTo>
                    <a:lnTo>
                      <a:pt x="7069" y="13984"/>
                    </a:lnTo>
                    <a:lnTo>
                      <a:pt x="6970" y="14049"/>
                    </a:lnTo>
                    <a:lnTo>
                      <a:pt x="6774" y="14115"/>
                    </a:lnTo>
                    <a:lnTo>
                      <a:pt x="6676" y="14246"/>
                    </a:lnTo>
                    <a:lnTo>
                      <a:pt x="6480" y="14378"/>
                    </a:lnTo>
                    <a:lnTo>
                      <a:pt x="6480" y="14443"/>
                    </a:lnTo>
                    <a:lnTo>
                      <a:pt x="6970" y="14443"/>
                    </a:lnTo>
                    <a:lnTo>
                      <a:pt x="7167" y="14378"/>
                    </a:lnTo>
                    <a:lnTo>
                      <a:pt x="7167" y="14312"/>
                    </a:lnTo>
                    <a:lnTo>
                      <a:pt x="7265" y="14246"/>
                    </a:lnTo>
                    <a:lnTo>
                      <a:pt x="7461" y="13984"/>
                    </a:lnTo>
                    <a:lnTo>
                      <a:pt x="7560" y="13918"/>
                    </a:lnTo>
                    <a:lnTo>
                      <a:pt x="7658" y="13918"/>
                    </a:lnTo>
                    <a:lnTo>
                      <a:pt x="7756" y="13984"/>
                    </a:lnTo>
                    <a:lnTo>
                      <a:pt x="7952" y="14246"/>
                    </a:lnTo>
                    <a:lnTo>
                      <a:pt x="7952" y="14378"/>
                    </a:lnTo>
                    <a:lnTo>
                      <a:pt x="8050" y="14509"/>
                    </a:lnTo>
                    <a:lnTo>
                      <a:pt x="8050" y="14640"/>
                    </a:lnTo>
                    <a:lnTo>
                      <a:pt x="8247" y="14772"/>
                    </a:lnTo>
                    <a:lnTo>
                      <a:pt x="8443" y="14772"/>
                    </a:lnTo>
                    <a:lnTo>
                      <a:pt x="8640" y="14837"/>
                    </a:lnTo>
                    <a:lnTo>
                      <a:pt x="8738" y="14968"/>
                    </a:lnTo>
                    <a:lnTo>
                      <a:pt x="8738" y="15231"/>
                    </a:lnTo>
                    <a:lnTo>
                      <a:pt x="8541" y="15231"/>
                    </a:lnTo>
                    <a:lnTo>
                      <a:pt x="8345" y="15165"/>
                    </a:lnTo>
                    <a:lnTo>
                      <a:pt x="8149" y="15034"/>
                    </a:lnTo>
                    <a:lnTo>
                      <a:pt x="7952" y="14968"/>
                    </a:lnTo>
                    <a:lnTo>
                      <a:pt x="7658" y="14903"/>
                    </a:lnTo>
                    <a:lnTo>
                      <a:pt x="7265" y="14903"/>
                    </a:lnTo>
                    <a:lnTo>
                      <a:pt x="7265" y="15034"/>
                    </a:lnTo>
                    <a:lnTo>
                      <a:pt x="7363" y="15100"/>
                    </a:lnTo>
                    <a:lnTo>
                      <a:pt x="7461" y="15231"/>
                    </a:lnTo>
                    <a:lnTo>
                      <a:pt x="7658" y="15297"/>
                    </a:lnTo>
                    <a:lnTo>
                      <a:pt x="7952" y="15362"/>
                    </a:lnTo>
                    <a:lnTo>
                      <a:pt x="8149" y="15428"/>
                    </a:lnTo>
                    <a:lnTo>
                      <a:pt x="8345" y="15428"/>
                    </a:lnTo>
                    <a:lnTo>
                      <a:pt x="8640" y="15625"/>
                    </a:lnTo>
                    <a:lnTo>
                      <a:pt x="8640" y="15888"/>
                    </a:lnTo>
                    <a:lnTo>
                      <a:pt x="8443" y="16085"/>
                    </a:lnTo>
                    <a:lnTo>
                      <a:pt x="8247" y="16216"/>
                    </a:lnTo>
                    <a:lnTo>
                      <a:pt x="8149" y="16347"/>
                    </a:lnTo>
                    <a:lnTo>
                      <a:pt x="7952" y="16413"/>
                    </a:lnTo>
                    <a:lnTo>
                      <a:pt x="7854" y="16479"/>
                    </a:lnTo>
                    <a:lnTo>
                      <a:pt x="7756" y="16479"/>
                    </a:lnTo>
                    <a:lnTo>
                      <a:pt x="7658" y="16544"/>
                    </a:lnTo>
                    <a:lnTo>
                      <a:pt x="7756" y="16610"/>
                    </a:lnTo>
                    <a:lnTo>
                      <a:pt x="7756" y="16675"/>
                    </a:lnTo>
                    <a:lnTo>
                      <a:pt x="7952" y="16675"/>
                    </a:lnTo>
                    <a:lnTo>
                      <a:pt x="7658" y="16872"/>
                    </a:lnTo>
                    <a:lnTo>
                      <a:pt x="7265" y="17266"/>
                    </a:lnTo>
                    <a:lnTo>
                      <a:pt x="7363" y="17332"/>
                    </a:lnTo>
                    <a:lnTo>
                      <a:pt x="7363" y="17463"/>
                    </a:lnTo>
                    <a:lnTo>
                      <a:pt x="7461" y="17660"/>
                    </a:lnTo>
                    <a:lnTo>
                      <a:pt x="7461" y="17857"/>
                    </a:lnTo>
                    <a:lnTo>
                      <a:pt x="7560" y="18054"/>
                    </a:lnTo>
                    <a:lnTo>
                      <a:pt x="7560" y="18317"/>
                    </a:lnTo>
                    <a:lnTo>
                      <a:pt x="7658" y="18579"/>
                    </a:lnTo>
                    <a:lnTo>
                      <a:pt x="7952" y="19170"/>
                    </a:lnTo>
                    <a:lnTo>
                      <a:pt x="8050" y="19302"/>
                    </a:lnTo>
                    <a:lnTo>
                      <a:pt x="8149" y="19499"/>
                    </a:lnTo>
                    <a:lnTo>
                      <a:pt x="8149" y="19696"/>
                    </a:lnTo>
                    <a:lnTo>
                      <a:pt x="8738" y="20352"/>
                    </a:lnTo>
                    <a:lnTo>
                      <a:pt x="8836" y="20352"/>
                    </a:lnTo>
                    <a:lnTo>
                      <a:pt x="8836" y="20615"/>
                    </a:lnTo>
                    <a:lnTo>
                      <a:pt x="8934" y="20812"/>
                    </a:lnTo>
                    <a:lnTo>
                      <a:pt x="9032" y="20943"/>
                    </a:lnTo>
                    <a:lnTo>
                      <a:pt x="9032" y="21074"/>
                    </a:lnTo>
                    <a:lnTo>
                      <a:pt x="9130" y="21140"/>
                    </a:lnTo>
                    <a:lnTo>
                      <a:pt x="9327" y="21206"/>
                    </a:lnTo>
                    <a:lnTo>
                      <a:pt x="9916" y="21206"/>
                    </a:lnTo>
                    <a:lnTo>
                      <a:pt x="10210" y="21140"/>
                    </a:lnTo>
                    <a:lnTo>
                      <a:pt x="10407" y="21074"/>
                    </a:lnTo>
                    <a:lnTo>
                      <a:pt x="10505" y="21074"/>
                    </a:lnTo>
                    <a:lnTo>
                      <a:pt x="10603" y="21009"/>
                    </a:lnTo>
                    <a:lnTo>
                      <a:pt x="10800" y="21009"/>
                    </a:lnTo>
                    <a:lnTo>
                      <a:pt x="10800" y="21074"/>
                    </a:lnTo>
                    <a:lnTo>
                      <a:pt x="10407" y="21337"/>
                    </a:lnTo>
                    <a:lnTo>
                      <a:pt x="10309" y="21337"/>
                    </a:lnTo>
                    <a:lnTo>
                      <a:pt x="10505" y="21468"/>
                    </a:lnTo>
                    <a:lnTo>
                      <a:pt x="10701" y="21534"/>
                    </a:lnTo>
                    <a:lnTo>
                      <a:pt x="10898" y="21534"/>
                    </a:lnTo>
                    <a:lnTo>
                      <a:pt x="11094" y="21600"/>
                    </a:lnTo>
                    <a:lnTo>
                      <a:pt x="11389" y="21600"/>
                    </a:lnTo>
                    <a:lnTo>
                      <a:pt x="11487" y="21534"/>
                    </a:lnTo>
                    <a:lnTo>
                      <a:pt x="11487" y="20943"/>
                    </a:lnTo>
                    <a:lnTo>
                      <a:pt x="11585" y="20746"/>
                    </a:lnTo>
                    <a:lnTo>
                      <a:pt x="11683" y="20680"/>
                    </a:lnTo>
                    <a:lnTo>
                      <a:pt x="11781" y="20549"/>
                    </a:lnTo>
                    <a:lnTo>
                      <a:pt x="11781" y="20286"/>
                    </a:lnTo>
                    <a:lnTo>
                      <a:pt x="11683" y="20221"/>
                    </a:lnTo>
                    <a:lnTo>
                      <a:pt x="11683" y="20089"/>
                    </a:lnTo>
                    <a:lnTo>
                      <a:pt x="11880" y="20024"/>
                    </a:lnTo>
                    <a:lnTo>
                      <a:pt x="11978" y="19958"/>
                    </a:lnTo>
                    <a:lnTo>
                      <a:pt x="12076" y="19958"/>
                    </a:lnTo>
                    <a:lnTo>
                      <a:pt x="12076" y="19893"/>
                    </a:lnTo>
                    <a:lnTo>
                      <a:pt x="12272" y="19367"/>
                    </a:lnTo>
                    <a:lnTo>
                      <a:pt x="12370" y="18908"/>
                    </a:lnTo>
                    <a:lnTo>
                      <a:pt x="12370" y="18776"/>
                    </a:lnTo>
                    <a:lnTo>
                      <a:pt x="12272" y="18711"/>
                    </a:lnTo>
                    <a:lnTo>
                      <a:pt x="12370" y="18579"/>
                    </a:lnTo>
                    <a:lnTo>
                      <a:pt x="12469" y="18579"/>
                    </a:lnTo>
                    <a:lnTo>
                      <a:pt x="12665" y="18514"/>
                    </a:lnTo>
                    <a:lnTo>
                      <a:pt x="12763" y="18514"/>
                    </a:lnTo>
                    <a:lnTo>
                      <a:pt x="12763" y="18579"/>
                    </a:lnTo>
                    <a:lnTo>
                      <a:pt x="13058" y="18579"/>
                    </a:lnTo>
                    <a:lnTo>
                      <a:pt x="13352" y="18382"/>
                    </a:lnTo>
                    <a:lnTo>
                      <a:pt x="13745" y="18251"/>
                    </a:lnTo>
                    <a:lnTo>
                      <a:pt x="13941" y="18251"/>
                    </a:lnTo>
                    <a:lnTo>
                      <a:pt x="14040" y="18120"/>
                    </a:lnTo>
                    <a:lnTo>
                      <a:pt x="14334" y="17857"/>
                    </a:lnTo>
                    <a:lnTo>
                      <a:pt x="15610" y="17004"/>
                    </a:lnTo>
                    <a:lnTo>
                      <a:pt x="15807" y="16938"/>
                    </a:lnTo>
                    <a:lnTo>
                      <a:pt x="15905" y="17004"/>
                    </a:lnTo>
                    <a:lnTo>
                      <a:pt x="16003" y="16938"/>
                    </a:lnTo>
                    <a:lnTo>
                      <a:pt x="16003" y="16807"/>
                    </a:lnTo>
                    <a:lnTo>
                      <a:pt x="16101" y="16741"/>
                    </a:lnTo>
                    <a:lnTo>
                      <a:pt x="16200" y="16610"/>
                    </a:lnTo>
                    <a:lnTo>
                      <a:pt x="16200" y="16544"/>
                    </a:lnTo>
                    <a:lnTo>
                      <a:pt x="16494" y="16347"/>
                    </a:lnTo>
                    <a:lnTo>
                      <a:pt x="16592" y="16347"/>
                    </a:lnTo>
                    <a:lnTo>
                      <a:pt x="16690" y="16413"/>
                    </a:lnTo>
                    <a:lnTo>
                      <a:pt x="16789" y="16544"/>
                    </a:lnTo>
                    <a:lnTo>
                      <a:pt x="17083" y="16544"/>
                    </a:lnTo>
                    <a:lnTo>
                      <a:pt x="17083" y="16413"/>
                    </a:lnTo>
                    <a:lnTo>
                      <a:pt x="17181" y="16347"/>
                    </a:lnTo>
                    <a:lnTo>
                      <a:pt x="17574" y="16347"/>
                    </a:lnTo>
                    <a:lnTo>
                      <a:pt x="17672" y="16282"/>
                    </a:lnTo>
                    <a:lnTo>
                      <a:pt x="17869" y="16216"/>
                    </a:lnTo>
                    <a:lnTo>
                      <a:pt x="17967" y="16085"/>
                    </a:lnTo>
                    <a:lnTo>
                      <a:pt x="18163" y="16019"/>
                    </a:lnTo>
                    <a:lnTo>
                      <a:pt x="18360" y="15888"/>
                    </a:lnTo>
                    <a:lnTo>
                      <a:pt x="18654" y="15756"/>
                    </a:lnTo>
                    <a:lnTo>
                      <a:pt x="18850" y="15691"/>
                    </a:lnTo>
                    <a:lnTo>
                      <a:pt x="18949" y="15625"/>
                    </a:lnTo>
                    <a:lnTo>
                      <a:pt x="19145" y="15559"/>
                    </a:lnTo>
                    <a:lnTo>
                      <a:pt x="19145" y="15428"/>
                    </a:lnTo>
                    <a:lnTo>
                      <a:pt x="18949" y="15297"/>
                    </a:lnTo>
                    <a:lnTo>
                      <a:pt x="18752" y="15231"/>
                    </a:lnTo>
                    <a:lnTo>
                      <a:pt x="17770" y="15231"/>
                    </a:lnTo>
                    <a:lnTo>
                      <a:pt x="17770" y="15297"/>
                    </a:lnTo>
                    <a:lnTo>
                      <a:pt x="17574" y="15428"/>
                    </a:lnTo>
                    <a:lnTo>
                      <a:pt x="17378" y="15494"/>
                    </a:lnTo>
                    <a:lnTo>
                      <a:pt x="17083" y="15559"/>
                    </a:lnTo>
                    <a:lnTo>
                      <a:pt x="16690" y="15559"/>
                    </a:lnTo>
                    <a:lnTo>
                      <a:pt x="16592" y="15494"/>
                    </a:lnTo>
                    <a:lnTo>
                      <a:pt x="16396" y="15494"/>
                    </a:lnTo>
                    <a:lnTo>
                      <a:pt x="16396" y="15297"/>
                    </a:lnTo>
                    <a:lnTo>
                      <a:pt x="16690" y="15297"/>
                    </a:lnTo>
                    <a:lnTo>
                      <a:pt x="16887" y="15362"/>
                    </a:lnTo>
                    <a:lnTo>
                      <a:pt x="17083" y="15362"/>
                    </a:lnTo>
                    <a:lnTo>
                      <a:pt x="17574" y="15165"/>
                    </a:lnTo>
                    <a:lnTo>
                      <a:pt x="17869" y="14772"/>
                    </a:lnTo>
                    <a:lnTo>
                      <a:pt x="17476" y="14706"/>
                    </a:lnTo>
                    <a:lnTo>
                      <a:pt x="17574" y="14706"/>
                    </a:lnTo>
                    <a:lnTo>
                      <a:pt x="17770" y="14575"/>
                    </a:lnTo>
                    <a:lnTo>
                      <a:pt x="17770" y="14509"/>
                    </a:lnTo>
                    <a:lnTo>
                      <a:pt x="17672" y="14378"/>
                    </a:lnTo>
                    <a:lnTo>
                      <a:pt x="17574" y="14378"/>
                    </a:lnTo>
                    <a:lnTo>
                      <a:pt x="17476" y="14312"/>
                    </a:lnTo>
                    <a:lnTo>
                      <a:pt x="17476" y="14115"/>
                    </a:lnTo>
                    <a:lnTo>
                      <a:pt x="17574" y="14115"/>
                    </a:lnTo>
                    <a:lnTo>
                      <a:pt x="17770" y="14049"/>
                    </a:lnTo>
                    <a:lnTo>
                      <a:pt x="17967" y="14049"/>
                    </a:lnTo>
                    <a:lnTo>
                      <a:pt x="17967" y="14115"/>
                    </a:lnTo>
                    <a:lnTo>
                      <a:pt x="18065" y="14181"/>
                    </a:lnTo>
                    <a:lnTo>
                      <a:pt x="18163" y="14312"/>
                    </a:lnTo>
                    <a:lnTo>
                      <a:pt x="18360" y="14706"/>
                    </a:lnTo>
                    <a:lnTo>
                      <a:pt x="18556" y="14837"/>
                    </a:lnTo>
                    <a:lnTo>
                      <a:pt x="18556" y="14968"/>
                    </a:lnTo>
                    <a:lnTo>
                      <a:pt x="18654" y="14968"/>
                    </a:lnTo>
                    <a:lnTo>
                      <a:pt x="19440" y="15034"/>
                    </a:lnTo>
                    <a:lnTo>
                      <a:pt x="19341" y="14246"/>
                    </a:lnTo>
                    <a:lnTo>
                      <a:pt x="19341" y="14181"/>
                    </a:lnTo>
                    <a:lnTo>
                      <a:pt x="19243" y="14049"/>
                    </a:lnTo>
                    <a:lnTo>
                      <a:pt x="18752" y="13721"/>
                    </a:lnTo>
                    <a:lnTo>
                      <a:pt x="18654" y="13590"/>
                    </a:lnTo>
                    <a:lnTo>
                      <a:pt x="18654" y="13524"/>
                    </a:lnTo>
                    <a:lnTo>
                      <a:pt x="18949" y="13524"/>
                    </a:lnTo>
                    <a:lnTo>
                      <a:pt x="18949" y="12933"/>
                    </a:lnTo>
                    <a:lnTo>
                      <a:pt x="18850" y="12933"/>
                    </a:lnTo>
                    <a:lnTo>
                      <a:pt x="18850" y="12868"/>
                    </a:lnTo>
                    <a:lnTo>
                      <a:pt x="18752" y="12736"/>
                    </a:lnTo>
                    <a:lnTo>
                      <a:pt x="18752" y="12605"/>
                    </a:lnTo>
                    <a:lnTo>
                      <a:pt x="18949" y="12605"/>
                    </a:lnTo>
                    <a:lnTo>
                      <a:pt x="19243" y="12539"/>
                    </a:lnTo>
                    <a:lnTo>
                      <a:pt x="19440" y="12539"/>
                    </a:lnTo>
                    <a:lnTo>
                      <a:pt x="19734" y="12342"/>
                    </a:lnTo>
                    <a:lnTo>
                      <a:pt x="19734" y="12145"/>
                    </a:lnTo>
                    <a:lnTo>
                      <a:pt x="20127" y="11948"/>
                    </a:lnTo>
                    <a:lnTo>
                      <a:pt x="20618" y="11489"/>
                    </a:lnTo>
                    <a:lnTo>
                      <a:pt x="20912" y="11161"/>
                    </a:lnTo>
                    <a:lnTo>
                      <a:pt x="20814" y="11029"/>
                    </a:lnTo>
                    <a:lnTo>
                      <a:pt x="20814" y="10898"/>
                    </a:lnTo>
                    <a:lnTo>
                      <a:pt x="20716" y="10767"/>
                    </a:lnTo>
                    <a:lnTo>
                      <a:pt x="20519" y="10635"/>
                    </a:lnTo>
                    <a:lnTo>
                      <a:pt x="20323" y="10635"/>
                    </a:lnTo>
                    <a:lnTo>
                      <a:pt x="20323" y="10504"/>
                    </a:lnTo>
                    <a:lnTo>
                      <a:pt x="20225" y="10373"/>
                    </a:lnTo>
                    <a:lnTo>
                      <a:pt x="20225" y="10307"/>
                    </a:lnTo>
                    <a:lnTo>
                      <a:pt x="19930" y="10110"/>
                    </a:lnTo>
                    <a:lnTo>
                      <a:pt x="19341" y="10110"/>
                    </a:lnTo>
                    <a:lnTo>
                      <a:pt x="19047" y="10176"/>
                    </a:lnTo>
                    <a:lnTo>
                      <a:pt x="18752" y="10176"/>
                    </a:lnTo>
                    <a:lnTo>
                      <a:pt x="18752" y="9060"/>
                    </a:lnTo>
                    <a:lnTo>
                      <a:pt x="18654" y="8928"/>
                    </a:lnTo>
                    <a:lnTo>
                      <a:pt x="18654" y="8863"/>
                    </a:lnTo>
                    <a:lnTo>
                      <a:pt x="18556" y="8797"/>
                    </a:lnTo>
                    <a:lnTo>
                      <a:pt x="18360" y="8731"/>
                    </a:lnTo>
                    <a:lnTo>
                      <a:pt x="18261" y="8666"/>
                    </a:lnTo>
                    <a:lnTo>
                      <a:pt x="18163" y="8534"/>
                    </a:lnTo>
                    <a:lnTo>
                      <a:pt x="18163" y="8469"/>
                    </a:lnTo>
                    <a:lnTo>
                      <a:pt x="18360" y="8403"/>
                    </a:lnTo>
                    <a:lnTo>
                      <a:pt x="18360" y="8337"/>
                    </a:lnTo>
                    <a:lnTo>
                      <a:pt x="18458" y="8206"/>
                    </a:lnTo>
                    <a:lnTo>
                      <a:pt x="18556" y="7944"/>
                    </a:lnTo>
                    <a:lnTo>
                      <a:pt x="18654" y="7550"/>
                    </a:lnTo>
                    <a:lnTo>
                      <a:pt x="18654" y="6893"/>
                    </a:lnTo>
                    <a:lnTo>
                      <a:pt x="18556" y="6171"/>
                    </a:lnTo>
                    <a:lnTo>
                      <a:pt x="18556" y="6105"/>
                    </a:lnTo>
                    <a:lnTo>
                      <a:pt x="18654" y="6040"/>
                    </a:lnTo>
                    <a:lnTo>
                      <a:pt x="18654" y="5908"/>
                    </a:lnTo>
                    <a:lnTo>
                      <a:pt x="18752" y="5777"/>
                    </a:lnTo>
                    <a:lnTo>
                      <a:pt x="18850" y="5711"/>
                    </a:lnTo>
                    <a:lnTo>
                      <a:pt x="19047" y="5646"/>
                    </a:lnTo>
                    <a:lnTo>
                      <a:pt x="19243" y="5646"/>
                    </a:lnTo>
                    <a:lnTo>
                      <a:pt x="19341" y="5711"/>
                    </a:lnTo>
                    <a:lnTo>
                      <a:pt x="19734" y="5711"/>
                    </a:lnTo>
                    <a:lnTo>
                      <a:pt x="19930" y="5580"/>
                    </a:lnTo>
                    <a:lnTo>
                      <a:pt x="20029" y="5449"/>
                    </a:lnTo>
                    <a:lnTo>
                      <a:pt x="20029" y="4792"/>
                    </a:lnTo>
                    <a:lnTo>
                      <a:pt x="20225" y="4727"/>
                    </a:lnTo>
                    <a:lnTo>
                      <a:pt x="20323" y="4595"/>
                    </a:lnTo>
                    <a:lnTo>
                      <a:pt x="20421" y="4530"/>
                    </a:lnTo>
                    <a:lnTo>
                      <a:pt x="19930" y="4530"/>
                    </a:lnTo>
                    <a:lnTo>
                      <a:pt x="19734" y="4595"/>
                    </a:lnTo>
                    <a:lnTo>
                      <a:pt x="19538" y="4595"/>
                    </a:lnTo>
                    <a:lnTo>
                      <a:pt x="19440" y="4530"/>
                    </a:lnTo>
                    <a:lnTo>
                      <a:pt x="19538" y="4464"/>
                    </a:lnTo>
                    <a:lnTo>
                      <a:pt x="19832" y="4398"/>
                    </a:lnTo>
                    <a:lnTo>
                      <a:pt x="20127" y="4267"/>
                    </a:lnTo>
                    <a:lnTo>
                      <a:pt x="20421" y="4201"/>
                    </a:lnTo>
                    <a:lnTo>
                      <a:pt x="20716" y="4070"/>
                    </a:lnTo>
                    <a:lnTo>
                      <a:pt x="20912" y="3939"/>
                    </a:lnTo>
                    <a:lnTo>
                      <a:pt x="21305" y="3545"/>
                    </a:lnTo>
                    <a:lnTo>
                      <a:pt x="21403" y="3348"/>
                    </a:lnTo>
                    <a:lnTo>
                      <a:pt x="21403" y="2823"/>
                    </a:lnTo>
                    <a:lnTo>
                      <a:pt x="21599" y="2757"/>
                    </a:lnTo>
                    <a:lnTo>
                      <a:pt x="20716" y="2363"/>
                    </a:lnTo>
                    <a:lnTo>
                      <a:pt x="20716" y="2494"/>
                    </a:lnTo>
                    <a:lnTo>
                      <a:pt x="20421" y="2691"/>
                    </a:lnTo>
                    <a:lnTo>
                      <a:pt x="20323" y="2560"/>
                    </a:lnTo>
                    <a:lnTo>
                      <a:pt x="20127" y="2429"/>
                    </a:lnTo>
                    <a:lnTo>
                      <a:pt x="20029" y="2429"/>
                    </a:lnTo>
                    <a:lnTo>
                      <a:pt x="19930" y="2494"/>
                    </a:lnTo>
                    <a:lnTo>
                      <a:pt x="19930" y="2691"/>
                    </a:lnTo>
                    <a:lnTo>
                      <a:pt x="20127" y="2823"/>
                    </a:lnTo>
                    <a:lnTo>
                      <a:pt x="20127" y="2888"/>
                    </a:lnTo>
                    <a:lnTo>
                      <a:pt x="20029" y="3020"/>
                    </a:lnTo>
                    <a:lnTo>
                      <a:pt x="19930" y="3217"/>
                    </a:lnTo>
                    <a:lnTo>
                      <a:pt x="19538" y="3545"/>
                    </a:lnTo>
                    <a:lnTo>
                      <a:pt x="18949" y="3873"/>
                    </a:lnTo>
                    <a:lnTo>
                      <a:pt x="18261" y="4201"/>
                    </a:lnTo>
                    <a:lnTo>
                      <a:pt x="17770" y="4464"/>
                    </a:lnTo>
                    <a:lnTo>
                      <a:pt x="17378" y="4595"/>
                    </a:lnTo>
                    <a:lnTo>
                      <a:pt x="17476" y="4530"/>
                    </a:lnTo>
                    <a:lnTo>
                      <a:pt x="17770" y="4267"/>
                    </a:lnTo>
                    <a:lnTo>
                      <a:pt x="18556" y="3610"/>
                    </a:lnTo>
                    <a:lnTo>
                      <a:pt x="18752" y="3282"/>
                    </a:lnTo>
                    <a:lnTo>
                      <a:pt x="19047" y="2888"/>
                    </a:lnTo>
                    <a:lnTo>
                      <a:pt x="19538" y="2166"/>
                    </a:lnTo>
                    <a:lnTo>
                      <a:pt x="19440" y="2100"/>
                    </a:lnTo>
                    <a:lnTo>
                      <a:pt x="19341" y="2100"/>
                    </a:lnTo>
                    <a:lnTo>
                      <a:pt x="19145" y="2035"/>
                    </a:lnTo>
                    <a:lnTo>
                      <a:pt x="18949" y="2100"/>
                    </a:lnTo>
                    <a:lnTo>
                      <a:pt x="18752" y="2100"/>
                    </a:lnTo>
                    <a:lnTo>
                      <a:pt x="18458" y="2232"/>
                    </a:lnTo>
                    <a:lnTo>
                      <a:pt x="18458" y="2297"/>
                    </a:lnTo>
                    <a:lnTo>
                      <a:pt x="17967" y="2626"/>
                    </a:lnTo>
                    <a:lnTo>
                      <a:pt x="17574" y="2757"/>
                    </a:lnTo>
                    <a:lnTo>
                      <a:pt x="17476" y="2823"/>
                    </a:lnTo>
                    <a:lnTo>
                      <a:pt x="17476" y="2626"/>
                    </a:lnTo>
                    <a:lnTo>
                      <a:pt x="17672" y="2560"/>
                    </a:lnTo>
                    <a:lnTo>
                      <a:pt x="17869" y="2429"/>
                    </a:lnTo>
                    <a:lnTo>
                      <a:pt x="18065" y="2232"/>
                    </a:lnTo>
                    <a:lnTo>
                      <a:pt x="17869" y="1969"/>
                    </a:lnTo>
                    <a:lnTo>
                      <a:pt x="17279" y="1969"/>
                    </a:lnTo>
                    <a:lnTo>
                      <a:pt x="16690" y="2100"/>
                    </a:lnTo>
                    <a:lnTo>
                      <a:pt x="16200" y="2363"/>
                    </a:lnTo>
                    <a:lnTo>
                      <a:pt x="16003" y="2560"/>
                    </a:lnTo>
                    <a:lnTo>
                      <a:pt x="16003" y="2363"/>
                    </a:lnTo>
                    <a:lnTo>
                      <a:pt x="16101" y="2232"/>
                    </a:lnTo>
                    <a:lnTo>
                      <a:pt x="16101" y="2100"/>
                    </a:lnTo>
                    <a:lnTo>
                      <a:pt x="16690" y="1903"/>
                    </a:lnTo>
                    <a:lnTo>
                      <a:pt x="16985" y="1838"/>
                    </a:lnTo>
                    <a:lnTo>
                      <a:pt x="17279" y="1838"/>
                    </a:lnTo>
                    <a:lnTo>
                      <a:pt x="17574" y="1772"/>
                    </a:lnTo>
                    <a:lnTo>
                      <a:pt x="17770" y="1772"/>
                    </a:lnTo>
                    <a:lnTo>
                      <a:pt x="17770" y="1706"/>
                    </a:lnTo>
                    <a:lnTo>
                      <a:pt x="17967" y="1575"/>
                    </a:lnTo>
                    <a:lnTo>
                      <a:pt x="18065" y="1444"/>
                    </a:lnTo>
                    <a:lnTo>
                      <a:pt x="18065" y="1313"/>
                    </a:lnTo>
                    <a:lnTo>
                      <a:pt x="17967" y="1181"/>
                    </a:lnTo>
                    <a:lnTo>
                      <a:pt x="17770" y="1050"/>
                    </a:lnTo>
                    <a:lnTo>
                      <a:pt x="17574" y="984"/>
                    </a:lnTo>
                    <a:lnTo>
                      <a:pt x="17279" y="919"/>
                    </a:lnTo>
                    <a:lnTo>
                      <a:pt x="16690" y="919"/>
                    </a:lnTo>
                    <a:lnTo>
                      <a:pt x="16690" y="590"/>
                    </a:lnTo>
                    <a:lnTo>
                      <a:pt x="16396" y="590"/>
                    </a:lnTo>
                    <a:lnTo>
                      <a:pt x="16200" y="656"/>
                    </a:lnTo>
                    <a:lnTo>
                      <a:pt x="16101" y="722"/>
                    </a:lnTo>
                    <a:lnTo>
                      <a:pt x="15709" y="853"/>
                    </a:lnTo>
                    <a:lnTo>
                      <a:pt x="15414" y="853"/>
                    </a:lnTo>
                    <a:lnTo>
                      <a:pt x="15119" y="919"/>
                    </a:lnTo>
                    <a:lnTo>
                      <a:pt x="14138" y="1247"/>
                    </a:lnTo>
                    <a:lnTo>
                      <a:pt x="14236" y="1181"/>
                    </a:lnTo>
                    <a:lnTo>
                      <a:pt x="14629" y="984"/>
                    </a:lnTo>
                    <a:lnTo>
                      <a:pt x="15021" y="722"/>
                    </a:lnTo>
                    <a:lnTo>
                      <a:pt x="15414" y="525"/>
                    </a:lnTo>
                    <a:lnTo>
                      <a:pt x="15807" y="459"/>
                    </a:lnTo>
                    <a:lnTo>
                      <a:pt x="15807" y="393"/>
                    </a:lnTo>
                    <a:lnTo>
                      <a:pt x="15905" y="328"/>
                    </a:lnTo>
                    <a:lnTo>
                      <a:pt x="15807" y="262"/>
                    </a:lnTo>
                    <a:lnTo>
                      <a:pt x="15807" y="196"/>
                    </a:lnTo>
                    <a:lnTo>
                      <a:pt x="15610" y="131"/>
                    </a:lnTo>
                    <a:lnTo>
                      <a:pt x="15316" y="65"/>
                    </a:lnTo>
                    <a:lnTo>
                      <a:pt x="14629" y="65"/>
                    </a:lnTo>
                    <a:lnTo>
                      <a:pt x="13647" y="0"/>
                    </a:lnTo>
                    <a:lnTo>
                      <a:pt x="12665" y="131"/>
                    </a:lnTo>
                    <a:lnTo>
                      <a:pt x="11781" y="393"/>
                    </a:lnTo>
                    <a:lnTo>
                      <a:pt x="10407" y="984"/>
                    </a:lnTo>
                    <a:lnTo>
                      <a:pt x="10505" y="1050"/>
                    </a:lnTo>
                    <a:lnTo>
                      <a:pt x="10701" y="1116"/>
                    </a:lnTo>
                    <a:lnTo>
                      <a:pt x="10800" y="1247"/>
                    </a:lnTo>
                    <a:lnTo>
                      <a:pt x="10996" y="1378"/>
                    </a:lnTo>
                    <a:lnTo>
                      <a:pt x="11094" y="1575"/>
                    </a:lnTo>
                    <a:lnTo>
                      <a:pt x="11192" y="1838"/>
                    </a:lnTo>
                    <a:lnTo>
                      <a:pt x="10112" y="1247"/>
                    </a:lnTo>
                    <a:lnTo>
                      <a:pt x="9621" y="1313"/>
                    </a:lnTo>
                    <a:lnTo>
                      <a:pt x="9916" y="2035"/>
                    </a:lnTo>
                    <a:lnTo>
                      <a:pt x="9130" y="1575"/>
                    </a:lnTo>
                    <a:lnTo>
                      <a:pt x="8149" y="1772"/>
                    </a:lnTo>
                    <a:lnTo>
                      <a:pt x="8050" y="1772"/>
                    </a:lnTo>
                    <a:lnTo>
                      <a:pt x="8050" y="1838"/>
                    </a:lnTo>
                    <a:lnTo>
                      <a:pt x="7952" y="1969"/>
                    </a:lnTo>
                    <a:lnTo>
                      <a:pt x="8050" y="2166"/>
                    </a:lnTo>
                    <a:lnTo>
                      <a:pt x="8149" y="2297"/>
                    </a:lnTo>
                    <a:lnTo>
                      <a:pt x="8345" y="2494"/>
                    </a:lnTo>
                    <a:lnTo>
                      <a:pt x="7461" y="2100"/>
                    </a:lnTo>
                    <a:lnTo>
                      <a:pt x="6283" y="2297"/>
                    </a:lnTo>
                    <a:lnTo>
                      <a:pt x="5105" y="256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76" name="AutoShape 10"/>
              <p:cNvSpPr>
                <a:spLocks/>
              </p:cNvSpPr>
              <p:nvPr/>
            </p:nvSpPr>
            <p:spPr bwMode="auto">
              <a:xfrm>
                <a:off x="730250" y="1375605"/>
                <a:ext cx="436563" cy="26020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928" y="16200"/>
                    </a:moveTo>
                    <a:lnTo>
                      <a:pt x="21152" y="15851"/>
                    </a:lnTo>
                    <a:lnTo>
                      <a:pt x="21152" y="15503"/>
                    </a:lnTo>
                    <a:lnTo>
                      <a:pt x="21264" y="15503"/>
                    </a:lnTo>
                    <a:lnTo>
                      <a:pt x="21376" y="15154"/>
                    </a:lnTo>
                    <a:lnTo>
                      <a:pt x="21376" y="14980"/>
                    </a:lnTo>
                    <a:lnTo>
                      <a:pt x="21488" y="14980"/>
                    </a:lnTo>
                    <a:lnTo>
                      <a:pt x="21488" y="14806"/>
                    </a:lnTo>
                    <a:lnTo>
                      <a:pt x="21600" y="14632"/>
                    </a:lnTo>
                    <a:lnTo>
                      <a:pt x="21600" y="14283"/>
                    </a:lnTo>
                    <a:lnTo>
                      <a:pt x="21488" y="14283"/>
                    </a:lnTo>
                    <a:lnTo>
                      <a:pt x="21376" y="14109"/>
                    </a:lnTo>
                    <a:lnTo>
                      <a:pt x="19921" y="14109"/>
                    </a:lnTo>
                    <a:lnTo>
                      <a:pt x="19697" y="14283"/>
                    </a:lnTo>
                    <a:lnTo>
                      <a:pt x="19473" y="14283"/>
                    </a:lnTo>
                    <a:lnTo>
                      <a:pt x="19361" y="14458"/>
                    </a:lnTo>
                    <a:lnTo>
                      <a:pt x="19137" y="14283"/>
                    </a:lnTo>
                    <a:lnTo>
                      <a:pt x="18913" y="14283"/>
                    </a:lnTo>
                    <a:lnTo>
                      <a:pt x="18802" y="14458"/>
                    </a:lnTo>
                    <a:lnTo>
                      <a:pt x="18690" y="14806"/>
                    </a:lnTo>
                    <a:lnTo>
                      <a:pt x="18690" y="15154"/>
                    </a:lnTo>
                    <a:lnTo>
                      <a:pt x="18578" y="15503"/>
                    </a:lnTo>
                    <a:lnTo>
                      <a:pt x="18578" y="16374"/>
                    </a:lnTo>
                    <a:lnTo>
                      <a:pt x="18354" y="16548"/>
                    </a:lnTo>
                    <a:lnTo>
                      <a:pt x="18242" y="16722"/>
                    </a:lnTo>
                    <a:lnTo>
                      <a:pt x="18018" y="16722"/>
                    </a:lnTo>
                    <a:lnTo>
                      <a:pt x="17570" y="17070"/>
                    </a:lnTo>
                    <a:lnTo>
                      <a:pt x="17459" y="17070"/>
                    </a:lnTo>
                    <a:lnTo>
                      <a:pt x="17235" y="17245"/>
                    </a:lnTo>
                    <a:lnTo>
                      <a:pt x="16451" y="17245"/>
                    </a:lnTo>
                    <a:lnTo>
                      <a:pt x="15892" y="17070"/>
                    </a:lnTo>
                    <a:lnTo>
                      <a:pt x="15444" y="16896"/>
                    </a:lnTo>
                    <a:lnTo>
                      <a:pt x="14996" y="16548"/>
                    </a:lnTo>
                    <a:lnTo>
                      <a:pt x="14661" y="16374"/>
                    </a:lnTo>
                    <a:lnTo>
                      <a:pt x="14661" y="16200"/>
                    </a:lnTo>
                    <a:lnTo>
                      <a:pt x="14549" y="16200"/>
                    </a:lnTo>
                    <a:lnTo>
                      <a:pt x="14437" y="16025"/>
                    </a:lnTo>
                    <a:lnTo>
                      <a:pt x="14325" y="15677"/>
                    </a:lnTo>
                    <a:lnTo>
                      <a:pt x="14325" y="15329"/>
                    </a:lnTo>
                    <a:lnTo>
                      <a:pt x="14213" y="14980"/>
                    </a:lnTo>
                    <a:lnTo>
                      <a:pt x="14213" y="14109"/>
                    </a:lnTo>
                    <a:lnTo>
                      <a:pt x="13989" y="13238"/>
                    </a:lnTo>
                    <a:lnTo>
                      <a:pt x="13653" y="12367"/>
                    </a:lnTo>
                    <a:lnTo>
                      <a:pt x="13653" y="11496"/>
                    </a:lnTo>
                    <a:lnTo>
                      <a:pt x="13541" y="10974"/>
                    </a:lnTo>
                    <a:lnTo>
                      <a:pt x="13541" y="10625"/>
                    </a:lnTo>
                    <a:lnTo>
                      <a:pt x="13653" y="10103"/>
                    </a:lnTo>
                    <a:lnTo>
                      <a:pt x="13653" y="9754"/>
                    </a:lnTo>
                    <a:lnTo>
                      <a:pt x="13541" y="8361"/>
                    </a:lnTo>
                    <a:lnTo>
                      <a:pt x="13430" y="8361"/>
                    </a:lnTo>
                    <a:lnTo>
                      <a:pt x="12982" y="7838"/>
                    </a:lnTo>
                    <a:lnTo>
                      <a:pt x="12422" y="6967"/>
                    </a:lnTo>
                    <a:lnTo>
                      <a:pt x="11751" y="5574"/>
                    </a:lnTo>
                    <a:lnTo>
                      <a:pt x="11639" y="5399"/>
                    </a:lnTo>
                    <a:lnTo>
                      <a:pt x="11527" y="5051"/>
                    </a:lnTo>
                    <a:lnTo>
                      <a:pt x="11303" y="4877"/>
                    </a:lnTo>
                    <a:lnTo>
                      <a:pt x="11079" y="4529"/>
                    </a:lnTo>
                    <a:lnTo>
                      <a:pt x="10855" y="4354"/>
                    </a:lnTo>
                    <a:lnTo>
                      <a:pt x="10632" y="4354"/>
                    </a:lnTo>
                    <a:lnTo>
                      <a:pt x="10520" y="4529"/>
                    </a:lnTo>
                    <a:lnTo>
                      <a:pt x="10408" y="4529"/>
                    </a:lnTo>
                    <a:lnTo>
                      <a:pt x="10296" y="4703"/>
                    </a:lnTo>
                    <a:lnTo>
                      <a:pt x="9736" y="4703"/>
                    </a:lnTo>
                    <a:lnTo>
                      <a:pt x="9401" y="4354"/>
                    </a:lnTo>
                    <a:lnTo>
                      <a:pt x="9177" y="4180"/>
                    </a:lnTo>
                    <a:lnTo>
                      <a:pt x="8729" y="3658"/>
                    </a:lnTo>
                    <a:lnTo>
                      <a:pt x="8281" y="2612"/>
                    </a:lnTo>
                    <a:lnTo>
                      <a:pt x="8058" y="1219"/>
                    </a:lnTo>
                    <a:lnTo>
                      <a:pt x="7946" y="1045"/>
                    </a:lnTo>
                    <a:lnTo>
                      <a:pt x="7834" y="1045"/>
                    </a:lnTo>
                    <a:lnTo>
                      <a:pt x="7610" y="870"/>
                    </a:lnTo>
                    <a:lnTo>
                      <a:pt x="6715" y="870"/>
                    </a:lnTo>
                    <a:lnTo>
                      <a:pt x="6491" y="1219"/>
                    </a:lnTo>
                    <a:lnTo>
                      <a:pt x="6267" y="1393"/>
                    </a:lnTo>
                    <a:lnTo>
                      <a:pt x="5595" y="1741"/>
                    </a:lnTo>
                    <a:lnTo>
                      <a:pt x="4364" y="1741"/>
                    </a:lnTo>
                    <a:lnTo>
                      <a:pt x="3805" y="1567"/>
                    </a:lnTo>
                    <a:lnTo>
                      <a:pt x="3021" y="1219"/>
                    </a:lnTo>
                    <a:lnTo>
                      <a:pt x="2350" y="870"/>
                    </a:lnTo>
                    <a:lnTo>
                      <a:pt x="1790" y="348"/>
                    </a:lnTo>
                    <a:lnTo>
                      <a:pt x="1678" y="174"/>
                    </a:lnTo>
                    <a:lnTo>
                      <a:pt x="1454" y="0"/>
                    </a:lnTo>
                    <a:lnTo>
                      <a:pt x="783" y="174"/>
                    </a:lnTo>
                    <a:lnTo>
                      <a:pt x="0" y="870"/>
                    </a:lnTo>
                    <a:lnTo>
                      <a:pt x="335" y="1916"/>
                    </a:lnTo>
                    <a:lnTo>
                      <a:pt x="671" y="3135"/>
                    </a:lnTo>
                    <a:lnTo>
                      <a:pt x="1007" y="4180"/>
                    </a:lnTo>
                    <a:lnTo>
                      <a:pt x="1231" y="5051"/>
                    </a:lnTo>
                    <a:lnTo>
                      <a:pt x="1343" y="5399"/>
                    </a:lnTo>
                    <a:lnTo>
                      <a:pt x="1678" y="6967"/>
                    </a:lnTo>
                    <a:lnTo>
                      <a:pt x="1790" y="7141"/>
                    </a:lnTo>
                    <a:lnTo>
                      <a:pt x="1902" y="7141"/>
                    </a:lnTo>
                    <a:lnTo>
                      <a:pt x="2126" y="7316"/>
                    </a:lnTo>
                    <a:lnTo>
                      <a:pt x="2462" y="7664"/>
                    </a:lnTo>
                    <a:lnTo>
                      <a:pt x="2686" y="8012"/>
                    </a:lnTo>
                    <a:lnTo>
                      <a:pt x="2909" y="8535"/>
                    </a:lnTo>
                    <a:lnTo>
                      <a:pt x="3133" y="9232"/>
                    </a:lnTo>
                    <a:lnTo>
                      <a:pt x="3245" y="9406"/>
                    </a:lnTo>
                    <a:lnTo>
                      <a:pt x="3469" y="10277"/>
                    </a:lnTo>
                    <a:lnTo>
                      <a:pt x="3805" y="11148"/>
                    </a:lnTo>
                    <a:lnTo>
                      <a:pt x="4700" y="12541"/>
                    </a:lnTo>
                    <a:lnTo>
                      <a:pt x="5148" y="12890"/>
                    </a:lnTo>
                    <a:lnTo>
                      <a:pt x="5483" y="12890"/>
                    </a:lnTo>
                    <a:lnTo>
                      <a:pt x="5483" y="12541"/>
                    </a:lnTo>
                    <a:lnTo>
                      <a:pt x="5260" y="12193"/>
                    </a:lnTo>
                    <a:lnTo>
                      <a:pt x="5036" y="11670"/>
                    </a:lnTo>
                    <a:lnTo>
                      <a:pt x="4812" y="10974"/>
                    </a:lnTo>
                    <a:lnTo>
                      <a:pt x="4588" y="10451"/>
                    </a:lnTo>
                    <a:lnTo>
                      <a:pt x="4476" y="10103"/>
                    </a:lnTo>
                    <a:lnTo>
                      <a:pt x="4140" y="9406"/>
                    </a:lnTo>
                    <a:lnTo>
                      <a:pt x="3805" y="8187"/>
                    </a:lnTo>
                    <a:lnTo>
                      <a:pt x="3469" y="7141"/>
                    </a:lnTo>
                    <a:lnTo>
                      <a:pt x="2909" y="6270"/>
                    </a:lnTo>
                    <a:lnTo>
                      <a:pt x="2350" y="5051"/>
                    </a:lnTo>
                    <a:lnTo>
                      <a:pt x="1902" y="3658"/>
                    </a:lnTo>
                    <a:lnTo>
                      <a:pt x="1678" y="2090"/>
                    </a:lnTo>
                    <a:lnTo>
                      <a:pt x="1678" y="1393"/>
                    </a:lnTo>
                    <a:lnTo>
                      <a:pt x="1790" y="1219"/>
                    </a:lnTo>
                    <a:lnTo>
                      <a:pt x="1902" y="1219"/>
                    </a:lnTo>
                    <a:lnTo>
                      <a:pt x="2350" y="1567"/>
                    </a:lnTo>
                    <a:lnTo>
                      <a:pt x="2462" y="2090"/>
                    </a:lnTo>
                    <a:lnTo>
                      <a:pt x="3245" y="4529"/>
                    </a:lnTo>
                    <a:lnTo>
                      <a:pt x="3805" y="5748"/>
                    </a:lnTo>
                    <a:lnTo>
                      <a:pt x="4364" y="6793"/>
                    </a:lnTo>
                    <a:lnTo>
                      <a:pt x="4476" y="6793"/>
                    </a:lnTo>
                    <a:lnTo>
                      <a:pt x="4700" y="6967"/>
                    </a:lnTo>
                    <a:lnTo>
                      <a:pt x="4924" y="6967"/>
                    </a:lnTo>
                    <a:lnTo>
                      <a:pt x="5260" y="7490"/>
                    </a:lnTo>
                    <a:lnTo>
                      <a:pt x="5372" y="7838"/>
                    </a:lnTo>
                    <a:lnTo>
                      <a:pt x="5483" y="8361"/>
                    </a:lnTo>
                    <a:lnTo>
                      <a:pt x="5595" y="8535"/>
                    </a:lnTo>
                    <a:lnTo>
                      <a:pt x="5931" y="9232"/>
                    </a:lnTo>
                    <a:lnTo>
                      <a:pt x="6491" y="10103"/>
                    </a:lnTo>
                    <a:lnTo>
                      <a:pt x="6938" y="10974"/>
                    </a:lnTo>
                    <a:lnTo>
                      <a:pt x="7834" y="12367"/>
                    </a:lnTo>
                    <a:lnTo>
                      <a:pt x="7946" y="12890"/>
                    </a:lnTo>
                    <a:lnTo>
                      <a:pt x="8058" y="13935"/>
                    </a:lnTo>
                    <a:lnTo>
                      <a:pt x="8281" y="15329"/>
                    </a:lnTo>
                    <a:lnTo>
                      <a:pt x="8281" y="17245"/>
                    </a:lnTo>
                    <a:lnTo>
                      <a:pt x="8393" y="17245"/>
                    </a:lnTo>
                    <a:lnTo>
                      <a:pt x="8617" y="17419"/>
                    </a:lnTo>
                    <a:lnTo>
                      <a:pt x="8953" y="17593"/>
                    </a:lnTo>
                    <a:lnTo>
                      <a:pt x="9512" y="17767"/>
                    </a:lnTo>
                    <a:lnTo>
                      <a:pt x="9736" y="17767"/>
                    </a:lnTo>
                    <a:lnTo>
                      <a:pt x="10408" y="18116"/>
                    </a:lnTo>
                    <a:lnTo>
                      <a:pt x="11079" y="18812"/>
                    </a:lnTo>
                    <a:lnTo>
                      <a:pt x="11639" y="19509"/>
                    </a:lnTo>
                    <a:lnTo>
                      <a:pt x="12646" y="19509"/>
                    </a:lnTo>
                    <a:lnTo>
                      <a:pt x="12870" y="19683"/>
                    </a:lnTo>
                    <a:lnTo>
                      <a:pt x="13430" y="20032"/>
                    </a:lnTo>
                    <a:lnTo>
                      <a:pt x="14213" y="20554"/>
                    </a:lnTo>
                    <a:lnTo>
                      <a:pt x="15220" y="20903"/>
                    </a:lnTo>
                    <a:lnTo>
                      <a:pt x="17235" y="20903"/>
                    </a:lnTo>
                    <a:lnTo>
                      <a:pt x="17347" y="21077"/>
                    </a:lnTo>
                    <a:lnTo>
                      <a:pt x="17570" y="21251"/>
                    </a:lnTo>
                    <a:lnTo>
                      <a:pt x="17570" y="21600"/>
                    </a:lnTo>
                    <a:lnTo>
                      <a:pt x="17682" y="21600"/>
                    </a:lnTo>
                    <a:lnTo>
                      <a:pt x="17682" y="21251"/>
                    </a:lnTo>
                    <a:lnTo>
                      <a:pt x="17794" y="21077"/>
                    </a:lnTo>
                    <a:lnTo>
                      <a:pt x="17906" y="20729"/>
                    </a:lnTo>
                    <a:lnTo>
                      <a:pt x="18018" y="20554"/>
                    </a:lnTo>
                    <a:lnTo>
                      <a:pt x="18018" y="20032"/>
                    </a:lnTo>
                    <a:lnTo>
                      <a:pt x="17906" y="19858"/>
                    </a:lnTo>
                    <a:lnTo>
                      <a:pt x="17906" y="19335"/>
                    </a:lnTo>
                    <a:lnTo>
                      <a:pt x="19361" y="19335"/>
                    </a:lnTo>
                    <a:lnTo>
                      <a:pt x="19361" y="18464"/>
                    </a:lnTo>
                    <a:lnTo>
                      <a:pt x="18802" y="17593"/>
                    </a:lnTo>
                    <a:lnTo>
                      <a:pt x="19025" y="17593"/>
                    </a:lnTo>
                    <a:lnTo>
                      <a:pt x="19025" y="16896"/>
                    </a:lnTo>
                    <a:lnTo>
                      <a:pt x="20145" y="16896"/>
                    </a:lnTo>
                    <a:lnTo>
                      <a:pt x="20145" y="16548"/>
                    </a:lnTo>
                    <a:lnTo>
                      <a:pt x="20256" y="16548"/>
                    </a:lnTo>
                    <a:lnTo>
                      <a:pt x="20368" y="16722"/>
                    </a:lnTo>
                    <a:lnTo>
                      <a:pt x="20592" y="16374"/>
                    </a:lnTo>
                    <a:lnTo>
                      <a:pt x="20816" y="16374"/>
                    </a:lnTo>
                    <a:lnTo>
                      <a:pt x="20928" y="162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77" name="AutoShape 11"/>
              <p:cNvSpPr>
                <a:spLocks/>
              </p:cNvSpPr>
              <p:nvPr/>
            </p:nvSpPr>
            <p:spPr bwMode="auto">
              <a:xfrm>
                <a:off x="1243014" y="401416"/>
                <a:ext cx="312737" cy="33477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6215" y="8370"/>
                    </a:moveTo>
                    <a:lnTo>
                      <a:pt x="7148" y="8505"/>
                    </a:lnTo>
                    <a:lnTo>
                      <a:pt x="7148" y="8235"/>
                    </a:lnTo>
                    <a:lnTo>
                      <a:pt x="7303" y="8235"/>
                    </a:lnTo>
                    <a:lnTo>
                      <a:pt x="8235" y="8640"/>
                    </a:lnTo>
                    <a:lnTo>
                      <a:pt x="8546" y="8640"/>
                    </a:lnTo>
                    <a:lnTo>
                      <a:pt x="9012" y="8775"/>
                    </a:lnTo>
                    <a:lnTo>
                      <a:pt x="10411" y="9315"/>
                    </a:lnTo>
                    <a:lnTo>
                      <a:pt x="10722" y="9585"/>
                    </a:lnTo>
                    <a:lnTo>
                      <a:pt x="10722" y="9855"/>
                    </a:lnTo>
                    <a:lnTo>
                      <a:pt x="10566" y="10125"/>
                    </a:lnTo>
                    <a:lnTo>
                      <a:pt x="10566" y="9990"/>
                    </a:lnTo>
                    <a:lnTo>
                      <a:pt x="11343" y="9990"/>
                    </a:lnTo>
                    <a:lnTo>
                      <a:pt x="11499" y="10125"/>
                    </a:lnTo>
                    <a:lnTo>
                      <a:pt x="11810" y="10260"/>
                    </a:lnTo>
                    <a:lnTo>
                      <a:pt x="11810" y="10530"/>
                    </a:lnTo>
                    <a:lnTo>
                      <a:pt x="11965" y="10800"/>
                    </a:lnTo>
                    <a:lnTo>
                      <a:pt x="12120" y="11475"/>
                    </a:lnTo>
                    <a:lnTo>
                      <a:pt x="12120" y="13230"/>
                    </a:lnTo>
                    <a:lnTo>
                      <a:pt x="11654" y="14175"/>
                    </a:lnTo>
                    <a:lnTo>
                      <a:pt x="11654" y="14714"/>
                    </a:lnTo>
                    <a:lnTo>
                      <a:pt x="11343" y="15525"/>
                    </a:lnTo>
                    <a:lnTo>
                      <a:pt x="10877" y="15795"/>
                    </a:lnTo>
                    <a:lnTo>
                      <a:pt x="10877" y="15930"/>
                    </a:lnTo>
                    <a:lnTo>
                      <a:pt x="10722" y="15930"/>
                    </a:lnTo>
                    <a:lnTo>
                      <a:pt x="10566" y="16065"/>
                    </a:lnTo>
                    <a:lnTo>
                      <a:pt x="9634" y="16065"/>
                    </a:lnTo>
                    <a:lnTo>
                      <a:pt x="9634" y="15930"/>
                    </a:lnTo>
                    <a:lnTo>
                      <a:pt x="9323" y="15930"/>
                    </a:lnTo>
                    <a:lnTo>
                      <a:pt x="8702" y="16470"/>
                    </a:lnTo>
                    <a:lnTo>
                      <a:pt x="8546" y="16875"/>
                    </a:lnTo>
                    <a:lnTo>
                      <a:pt x="8546" y="17145"/>
                    </a:lnTo>
                    <a:lnTo>
                      <a:pt x="8702" y="17280"/>
                    </a:lnTo>
                    <a:lnTo>
                      <a:pt x="8857" y="17550"/>
                    </a:lnTo>
                    <a:lnTo>
                      <a:pt x="9012" y="17684"/>
                    </a:lnTo>
                    <a:lnTo>
                      <a:pt x="9479" y="17819"/>
                    </a:lnTo>
                    <a:lnTo>
                      <a:pt x="9789" y="17955"/>
                    </a:lnTo>
                    <a:lnTo>
                      <a:pt x="10566" y="17955"/>
                    </a:lnTo>
                    <a:lnTo>
                      <a:pt x="10877" y="17684"/>
                    </a:lnTo>
                    <a:lnTo>
                      <a:pt x="11188" y="17684"/>
                    </a:lnTo>
                    <a:lnTo>
                      <a:pt x="11343" y="17550"/>
                    </a:lnTo>
                    <a:lnTo>
                      <a:pt x="11343" y="17415"/>
                    </a:lnTo>
                    <a:lnTo>
                      <a:pt x="11188" y="17280"/>
                    </a:lnTo>
                    <a:lnTo>
                      <a:pt x="12587" y="18494"/>
                    </a:lnTo>
                    <a:lnTo>
                      <a:pt x="13519" y="18629"/>
                    </a:lnTo>
                    <a:lnTo>
                      <a:pt x="13519" y="19170"/>
                    </a:lnTo>
                    <a:lnTo>
                      <a:pt x="13674" y="19439"/>
                    </a:lnTo>
                    <a:lnTo>
                      <a:pt x="14296" y="19980"/>
                    </a:lnTo>
                    <a:lnTo>
                      <a:pt x="14917" y="20114"/>
                    </a:lnTo>
                    <a:lnTo>
                      <a:pt x="14917" y="20250"/>
                    </a:lnTo>
                    <a:lnTo>
                      <a:pt x="15228" y="20250"/>
                    </a:lnTo>
                    <a:lnTo>
                      <a:pt x="15539" y="20385"/>
                    </a:lnTo>
                    <a:lnTo>
                      <a:pt x="15694" y="20655"/>
                    </a:lnTo>
                    <a:lnTo>
                      <a:pt x="16005" y="20924"/>
                    </a:lnTo>
                    <a:lnTo>
                      <a:pt x="16005" y="21060"/>
                    </a:lnTo>
                    <a:lnTo>
                      <a:pt x="16161" y="21060"/>
                    </a:lnTo>
                    <a:lnTo>
                      <a:pt x="16627" y="21465"/>
                    </a:lnTo>
                    <a:lnTo>
                      <a:pt x="16938" y="21599"/>
                    </a:lnTo>
                    <a:lnTo>
                      <a:pt x="17093" y="21599"/>
                    </a:lnTo>
                    <a:lnTo>
                      <a:pt x="17248" y="21465"/>
                    </a:lnTo>
                    <a:lnTo>
                      <a:pt x="17248" y="20924"/>
                    </a:lnTo>
                    <a:lnTo>
                      <a:pt x="16782" y="20114"/>
                    </a:lnTo>
                    <a:lnTo>
                      <a:pt x="16471" y="19845"/>
                    </a:lnTo>
                    <a:lnTo>
                      <a:pt x="16316" y="19575"/>
                    </a:lnTo>
                    <a:lnTo>
                      <a:pt x="16005" y="19575"/>
                    </a:lnTo>
                    <a:lnTo>
                      <a:pt x="16005" y="19439"/>
                    </a:lnTo>
                    <a:lnTo>
                      <a:pt x="15850" y="19304"/>
                    </a:lnTo>
                    <a:lnTo>
                      <a:pt x="16005" y="19170"/>
                    </a:lnTo>
                    <a:lnTo>
                      <a:pt x="16316" y="19170"/>
                    </a:lnTo>
                    <a:lnTo>
                      <a:pt x="17248" y="19575"/>
                    </a:lnTo>
                    <a:lnTo>
                      <a:pt x="17715" y="19710"/>
                    </a:lnTo>
                    <a:lnTo>
                      <a:pt x="18336" y="20250"/>
                    </a:lnTo>
                    <a:lnTo>
                      <a:pt x="18492" y="20520"/>
                    </a:lnTo>
                    <a:lnTo>
                      <a:pt x="18647" y="20655"/>
                    </a:lnTo>
                    <a:lnTo>
                      <a:pt x="18647" y="20790"/>
                    </a:lnTo>
                    <a:lnTo>
                      <a:pt x="18802" y="20790"/>
                    </a:lnTo>
                    <a:lnTo>
                      <a:pt x="19113" y="20520"/>
                    </a:lnTo>
                    <a:lnTo>
                      <a:pt x="19113" y="20385"/>
                    </a:lnTo>
                    <a:lnTo>
                      <a:pt x="19269" y="20250"/>
                    </a:lnTo>
                    <a:lnTo>
                      <a:pt x="19269" y="19980"/>
                    </a:lnTo>
                    <a:lnTo>
                      <a:pt x="19424" y="19575"/>
                    </a:lnTo>
                    <a:lnTo>
                      <a:pt x="19424" y="19304"/>
                    </a:lnTo>
                    <a:lnTo>
                      <a:pt x="19113" y="18765"/>
                    </a:lnTo>
                    <a:lnTo>
                      <a:pt x="17870" y="17684"/>
                    </a:lnTo>
                    <a:lnTo>
                      <a:pt x="17559" y="17550"/>
                    </a:lnTo>
                    <a:lnTo>
                      <a:pt x="17404" y="17415"/>
                    </a:lnTo>
                    <a:lnTo>
                      <a:pt x="17248" y="17415"/>
                    </a:lnTo>
                    <a:lnTo>
                      <a:pt x="17093" y="17280"/>
                    </a:lnTo>
                    <a:lnTo>
                      <a:pt x="16938" y="17009"/>
                    </a:lnTo>
                    <a:lnTo>
                      <a:pt x="16938" y="16875"/>
                    </a:lnTo>
                    <a:lnTo>
                      <a:pt x="16782" y="16875"/>
                    </a:lnTo>
                    <a:lnTo>
                      <a:pt x="16471" y="16605"/>
                    </a:lnTo>
                    <a:lnTo>
                      <a:pt x="16161" y="16065"/>
                    </a:lnTo>
                    <a:lnTo>
                      <a:pt x="16161" y="15525"/>
                    </a:lnTo>
                    <a:lnTo>
                      <a:pt x="16005" y="15255"/>
                    </a:lnTo>
                    <a:lnTo>
                      <a:pt x="16005" y="14579"/>
                    </a:lnTo>
                    <a:lnTo>
                      <a:pt x="16316" y="14040"/>
                    </a:lnTo>
                    <a:lnTo>
                      <a:pt x="16627" y="14040"/>
                    </a:lnTo>
                    <a:lnTo>
                      <a:pt x="16782" y="14175"/>
                    </a:lnTo>
                    <a:lnTo>
                      <a:pt x="17093" y="14310"/>
                    </a:lnTo>
                    <a:lnTo>
                      <a:pt x="17248" y="14579"/>
                    </a:lnTo>
                    <a:lnTo>
                      <a:pt x="17248" y="14850"/>
                    </a:lnTo>
                    <a:lnTo>
                      <a:pt x="17404" y="15255"/>
                    </a:lnTo>
                    <a:lnTo>
                      <a:pt x="17404" y="15389"/>
                    </a:lnTo>
                    <a:lnTo>
                      <a:pt x="17559" y="15525"/>
                    </a:lnTo>
                    <a:lnTo>
                      <a:pt x="17715" y="15795"/>
                    </a:lnTo>
                    <a:lnTo>
                      <a:pt x="17870" y="16199"/>
                    </a:lnTo>
                    <a:lnTo>
                      <a:pt x="17870" y="16470"/>
                    </a:lnTo>
                    <a:lnTo>
                      <a:pt x="18025" y="16605"/>
                    </a:lnTo>
                    <a:lnTo>
                      <a:pt x="18025" y="16740"/>
                    </a:lnTo>
                    <a:lnTo>
                      <a:pt x="18181" y="16875"/>
                    </a:lnTo>
                    <a:lnTo>
                      <a:pt x="18492" y="16875"/>
                    </a:lnTo>
                    <a:lnTo>
                      <a:pt x="18802" y="16740"/>
                    </a:lnTo>
                    <a:lnTo>
                      <a:pt x="19113" y="16470"/>
                    </a:lnTo>
                    <a:lnTo>
                      <a:pt x="19269" y="16470"/>
                    </a:lnTo>
                    <a:lnTo>
                      <a:pt x="19579" y="16199"/>
                    </a:lnTo>
                    <a:lnTo>
                      <a:pt x="20512" y="15795"/>
                    </a:lnTo>
                    <a:lnTo>
                      <a:pt x="21133" y="15795"/>
                    </a:lnTo>
                    <a:lnTo>
                      <a:pt x="21599" y="15389"/>
                    </a:lnTo>
                    <a:lnTo>
                      <a:pt x="21289" y="14850"/>
                    </a:lnTo>
                    <a:lnTo>
                      <a:pt x="20978" y="14850"/>
                    </a:lnTo>
                    <a:lnTo>
                      <a:pt x="20823" y="14714"/>
                    </a:lnTo>
                    <a:lnTo>
                      <a:pt x="20667" y="14714"/>
                    </a:lnTo>
                    <a:lnTo>
                      <a:pt x="20667" y="14445"/>
                    </a:lnTo>
                    <a:lnTo>
                      <a:pt x="21444" y="14310"/>
                    </a:lnTo>
                    <a:lnTo>
                      <a:pt x="21444" y="14040"/>
                    </a:lnTo>
                    <a:lnTo>
                      <a:pt x="20978" y="13635"/>
                    </a:lnTo>
                    <a:lnTo>
                      <a:pt x="20978" y="13500"/>
                    </a:lnTo>
                    <a:lnTo>
                      <a:pt x="20823" y="13365"/>
                    </a:lnTo>
                    <a:lnTo>
                      <a:pt x="20356" y="13365"/>
                    </a:lnTo>
                    <a:lnTo>
                      <a:pt x="20356" y="13500"/>
                    </a:lnTo>
                    <a:lnTo>
                      <a:pt x="20046" y="13500"/>
                    </a:lnTo>
                    <a:lnTo>
                      <a:pt x="19890" y="13635"/>
                    </a:lnTo>
                    <a:lnTo>
                      <a:pt x="19735" y="13635"/>
                    </a:lnTo>
                    <a:lnTo>
                      <a:pt x="19735" y="13230"/>
                    </a:lnTo>
                    <a:lnTo>
                      <a:pt x="19579" y="13095"/>
                    </a:lnTo>
                    <a:lnTo>
                      <a:pt x="19579" y="12825"/>
                    </a:lnTo>
                    <a:lnTo>
                      <a:pt x="18958" y="12285"/>
                    </a:lnTo>
                    <a:lnTo>
                      <a:pt x="17715" y="11880"/>
                    </a:lnTo>
                    <a:lnTo>
                      <a:pt x="16782" y="11205"/>
                    </a:lnTo>
                    <a:lnTo>
                      <a:pt x="16627" y="11205"/>
                    </a:lnTo>
                    <a:lnTo>
                      <a:pt x="16471" y="11340"/>
                    </a:lnTo>
                    <a:lnTo>
                      <a:pt x="16005" y="11340"/>
                    </a:lnTo>
                    <a:lnTo>
                      <a:pt x="16005" y="10935"/>
                    </a:lnTo>
                    <a:lnTo>
                      <a:pt x="16161" y="10665"/>
                    </a:lnTo>
                    <a:lnTo>
                      <a:pt x="16161" y="10530"/>
                    </a:lnTo>
                    <a:lnTo>
                      <a:pt x="16316" y="10260"/>
                    </a:lnTo>
                    <a:lnTo>
                      <a:pt x="16161" y="10125"/>
                    </a:lnTo>
                    <a:lnTo>
                      <a:pt x="16938" y="9990"/>
                    </a:lnTo>
                    <a:lnTo>
                      <a:pt x="17093" y="9990"/>
                    </a:lnTo>
                    <a:lnTo>
                      <a:pt x="17093" y="9855"/>
                    </a:lnTo>
                    <a:lnTo>
                      <a:pt x="17248" y="9720"/>
                    </a:lnTo>
                    <a:lnTo>
                      <a:pt x="17248" y="9450"/>
                    </a:lnTo>
                    <a:lnTo>
                      <a:pt x="16938" y="9180"/>
                    </a:lnTo>
                    <a:lnTo>
                      <a:pt x="16938" y="8910"/>
                    </a:lnTo>
                    <a:lnTo>
                      <a:pt x="16782" y="8775"/>
                    </a:lnTo>
                    <a:lnTo>
                      <a:pt x="16938" y="8505"/>
                    </a:lnTo>
                    <a:lnTo>
                      <a:pt x="17093" y="8370"/>
                    </a:lnTo>
                    <a:lnTo>
                      <a:pt x="17093" y="8235"/>
                    </a:lnTo>
                    <a:lnTo>
                      <a:pt x="16938" y="8100"/>
                    </a:lnTo>
                    <a:lnTo>
                      <a:pt x="16938" y="7965"/>
                    </a:lnTo>
                    <a:lnTo>
                      <a:pt x="16627" y="7830"/>
                    </a:lnTo>
                    <a:lnTo>
                      <a:pt x="16161" y="7830"/>
                    </a:lnTo>
                    <a:lnTo>
                      <a:pt x="16161" y="7020"/>
                    </a:lnTo>
                    <a:lnTo>
                      <a:pt x="16005" y="7020"/>
                    </a:lnTo>
                    <a:lnTo>
                      <a:pt x="15850" y="6885"/>
                    </a:lnTo>
                    <a:lnTo>
                      <a:pt x="15539" y="6885"/>
                    </a:lnTo>
                    <a:lnTo>
                      <a:pt x="15228" y="6615"/>
                    </a:lnTo>
                    <a:lnTo>
                      <a:pt x="15228" y="6480"/>
                    </a:lnTo>
                    <a:lnTo>
                      <a:pt x="14917" y="6210"/>
                    </a:lnTo>
                    <a:lnTo>
                      <a:pt x="14762" y="6210"/>
                    </a:lnTo>
                    <a:lnTo>
                      <a:pt x="14451" y="6345"/>
                    </a:lnTo>
                    <a:lnTo>
                      <a:pt x="14296" y="6345"/>
                    </a:lnTo>
                    <a:lnTo>
                      <a:pt x="14141" y="6480"/>
                    </a:lnTo>
                    <a:lnTo>
                      <a:pt x="13674" y="6480"/>
                    </a:lnTo>
                    <a:lnTo>
                      <a:pt x="13674" y="6345"/>
                    </a:lnTo>
                    <a:lnTo>
                      <a:pt x="13830" y="6075"/>
                    </a:lnTo>
                    <a:lnTo>
                      <a:pt x="13830" y="5940"/>
                    </a:lnTo>
                    <a:lnTo>
                      <a:pt x="13985" y="5805"/>
                    </a:lnTo>
                    <a:lnTo>
                      <a:pt x="13985" y="5535"/>
                    </a:lnTo>
                    <a:lnTo>
                      <a:pt x="13830" y="5265"/>
                    </a:lnTo>
                    <a:lnTo>
                      <a:pt x="13674" y="5265"/>
                    </a:lnTo>
                    <a:lnTo>
                      <a:pt x="13364" y="5130"/>
                    </a:lnTo>
                    <a:lnTo>
                      <a:pt x="13208" y="5265"/>
                    </a:lnTo>
                    <a:lnTo>
                      <a:pt x="12897" y="5265"/>
                    </a:lnTo>
                    <a:lnTo>
                      <a:pt x="12742" y="5130"/>
                    </a:lnTo>
                    <a:lnTo>
                      <a:pt x="12431" y="4995"/>
                    </a:lnTo>
                    <a:lnTo>
                      <a:pt x="12120" y="4725"/>
                    </a:lnTo>
                    <a:lnTo>
                      <a:pt x="11654" y="3915"/>
                    </a:lnTo>
                    <a:lnTo>
                      <a:pt x="11188" y="3645"/>
                    </a:lnTo>
                    <a:lnTo>
                      <a:pt x="10256" y="3240"/>
                    </a:lnTo>
                    <a:lnTo>
                      <a:pt x="8857" y="3105"/>
                    </a:lnTo>
                    <a:lnTo>
                      <a:pt x="8702" y="3105"/>
                    </a:lnTo>
                    <a:lnTo>
                      <a:pt x="8391" y="3240"/>
                    </a:lnTo>
                    <a:lnTo>
                      <a:pt x="7614" y="3240"/>
                    </a:lnTo>
                    <a:lnTo>
                      <a:pt x="7458" y="2970"/>
                    </a:lnTo>
                    <a:lnTo>
                      <a:pt x="7303" y="2565"/>
                    </a:lnTo>
                    <a:lnTo>
                      <a:pt x="6060" y="2970"/>
                    </a:lnTo>
                    <a:lnTo>
                      <a:pt x="6060" y="2835"/>
                    </a:lnTo>
                    <a:lnTo>
                      <a:pt x="6215" y="2700"/>
                    </a:lnTo>
                    <a:lnTo>
                      <a:pt x="6371" y="2295"/>
                    </a:lnTo>
                    <a:lnTo>
                      <a:pt x="6371" y="1755"/>
                    </a:lnTo>
                    <a:lnTo>
                      <a:pt x="6526" y="1620"/>
                    </a:lnTo>
                    <a:lnTo>
                      <a:pt x="6526" y="1080"/>
                    </a:lnTo>
                    <a:lnTo>
                      <a:pt x="6682" y="810"/>
                    </a:lnTo>
                    <a:lnTo>
                      <a:pt x="6526" y="540"/>
                    </a:lnTo>
                    <a:lnTo>
                      <a:pt x="6215" y="270"/>
                    </a:lnTo>
                    <a:lnTo>
                      <a:pt x="5905" y="270"/>
                    </a:lnTo>
                    <a:lnTo>
                      <a:pt x="5283" y="540"/>
                    </a:lnTo>
                    <a:lnTo>
                      <a:pt x="4661" y="1080"/>
                    </a:lnTo>
                    <a:lnTo>
                      <a:pt x="4351" y="1620"/>
                    </a:lnTo>
                    <a:lnTo>
                      <a:pt x="4351" y="1890"/>
                    </a:lnTo>
                    <a:lnTo>
                      <a:pt x="4195" y="2430"/>
                    </a:lnTo>
                    <a:lnTo>
                      <a:pt x="4195" y="3105"/>
                    </a:lnTo>
                    <a:lnTo>
                      <a:pt x="4351" y="3915"/>
                    </a:lnTo>
                    <a:lnTo>
                      <a:pt x="5594" y="5265"/>
                    </a:lnTo>
                    <a:lnTo>
                      <a:pt x="5594" y="6210"/>
                    </a:lnTo>
                    <a:lnTo>
                      <a:pt x="5438" y="6210"/>
                    </a:lnTo>
                    <a:lnTo>
                      <a:pt x="4972" y="5805"/>
                    </a:lnTo>
                    <a:lnTo>
                      <a:pt x="4351" y="5130"/>
                    </a:lnTo>
                    <a:lnTo>
                      <a:pt x="3729" y="4050"/>
                    </a:lnTo>
                    <a:lnTo>
                      <a:pt x="3418" y="2565"/>
                    </a:lnTo>
                    <a:lnTo>
                      <a:pt x="3418" y="2160"/>
                    </a:lnTo>
                    <a:lnTo>
                      <a:pt x="3574" y="1350"/>
                    </a:lnTo>
                    <a:lnTo>
                      <a:pt x="4040" y="270"/>
                    </a:lnTo>
                    <a:lnTo>
                      <a:pt x="4040" y="135"/>
                    </a:lnTo>
                    <a:lnTo>
                      <a:pt x="3729" y="0"/>
                    </a:lnTo>
                    <a:lnTo>
                      <a:pt x="3107" y="0"/>
                    </a:lnTo>
                    <a:lnTo>
                      <a:pt x="2486" y="270"/>
                    </a:lnTo>
                    <a:lnTo>
                      <a:pt x="1398" y="945"/>
                    </a:lnTo>
                    <a:lnTo>
                      <a:pt x="310" y="2835"/>
                    </a:lnTo>
                    <a:lnTo>
                      <a:pt x="155" y="3780"/>
                    </a:lnTo>
                    <a:lnTo>
                      <a:pt x="155" y="3915"/>
                    </a:lnTo>
                    <a:lnTo>
                      <a:pt x="0" y="3915"/>
                    </a:lnTo>
                    <a:lnTo>
                      <a:pt x="0" y="4050"/>
                    </a:lnTo>
                    <a:lnTo>
                      <a:pt x="466" y="4860"/>
                    </a:lnTo>
                    <a:lnTo>
                      <a:pt x="1398" y="5940"/>
                    </a:lnTo>
                    <a:lnTo>
                      <a:pt x="1709" y="6615"/>
                    </a:lnTo>
                    <a:lnTo>
                      <a:pt x="1864" y="7020"/>
                    </a:lnTo>
                    <a:lnTo>
                      <a:pt x="1709" y="7290"/>
                    </a:lnTo>
                    <a:lnTo>
                      <a:pt x="2020" y="7560"/>
                    </a:lnTo>
                    <a:lnTo>
                      <a:pt x="2330" y="7290"/>
                    </a:lnTo>
                    <a:lnTo>
                      <a:pt x="2486" y="7290"/>
                    </a:lnTo>
                    <a:lnTo>
                      <a:pt x="3107" y="7560"/>
                    </a:lnTo>
                    <a:lnTo>
                      <a:pt x="3729" y="7965"/>
                    </a:lnTo>
                    <a:lnTo>
                      <a:pt x="4817" y="8235"/>
                    </a:lnTo>
                    <a:lnTo>
                      <a:pt x="6215" y="837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78" name="AutoShape 12"/>
              <p:cNvSpPr>
                <a:spLocks/>
              </p:cNvSpPr>
              <p:nvPr/>
            </p:nvSpPr>
            <p:spPr bwMode="auto">
              <a:xfrm>
                <a:off x="1171576" y="650517"/>
                <a:ext cx="88900" cy="6029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620" y="13406"/>
                    </a:moveTo>
                    <a:lnTo>
                      <a:pt x="0" y="17131"/>
                    </a:lnTo>
                    <a:lnTo>
                      <a:pt x="540" y="17131"/>
                    </a:lnTo>
                    <a:lnTo>
                      <a:pt x="1080" y="16386"/>
                    </a:lnTo>
                    <a:lnTo>
                      <a:pt x="3240" y="16386"/>
                    </a:lnTo>
                    <a:lnTo>
                      <a:pt x="4319" y="17875"/>
                    </a:lnTo>
                    <a:lnTo>
                      <a:pt x="4319" y="19365"/>
                    </a:lnTo>
                    <a:lnTo>
                      <a:pt x="5940" y="21600"/>
                    </a:lnTo>
                    <a:lnTo>
                      <a:pt x="8100" y="21600"/>
                    </a:lnTo>
                    <a:lnTo>
                      <a:pt x="9180" y="20855"/>
                    </a:lnTo>
                    <a:lnTo>
                      <a:pt x="14579" y="16386"/>
                    </a:lnTo>
                    <a:lnTo>
                      <a:pt x="19439" y="17875"/>
                    </a:lnTo>
                    <a:lnTo>
                      <a:pt x="21599" y="15641"/>
                    </a:lnTo>
                    <a:lnTo>
                      <a:pt x="21599" y="14896"/>
                    </a:lnTo>
                    <a:lnTo>
                      <a:pt x="17819" y="9682"/>
                    </a:lnTo>
                    <a:lnTo>
                      <a:pt x="16199" y="8937"/>
                    </a:lnTo>
                    <a:lnTo>
                      <a:pt x="15660" y="8193"/>
                    </a:lnTo>
                    <a:lnTo>
                      <a:pt x="14579" y="7448"/>
                    </a:lnTo>
                    <a:lnTo>
                      <a:pt x="13499" y="5958"/>
                    </a:lnTo>
                    <a:lnTo>
                      <a:pt x="10259" y="3724"/>
                    </a:lnTo>
                    <a:lnTo>
                      <a:pt x="9180" y="3724"/>
                    </a:lnTo>
                    <a:lnTo>
                      <a:pt x="8639" y="0"/>
                    </a:lnTo>
                    <a:lnTo>
                      <a:pt x="5940" y="5213"/>
                    </a:lnTo>
                    <a:lnTo>
                      <a:pt x="4860" y="5213"/>
                    </a:lnTo>
                    <a:lnTo>
                      <a:pt x="4319" y="5958"/>
                    </a:lnTo>
                    <a:lnTo>
                      <a:pt x="3240" y="6703"/>
                    </a:lnTo>
                    <a:lnTo>
                      <a:pt x="1620" y="8937"/>
                    </a:lnTo>
                    <a:lnTo>
                      <a:pt x="1620" y="1340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79" name="AutoShape 13"/>
              <p:cNvSpPr>
                <a:spLocks/>
              </p:cNvSpPr>
              <p:nvPr/>
            </p:nvSpPr>
            <p:spPr bwMode="auto">
              <a:xfrm>
                <a:off x="942975" y="312565"/>
                <a:ext cx="95250" cy="12693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599" y="8498"/>
                    </a:moveTo>
                    <a:lnTo>
                      <a:pt x="3085" y="8144"/>
                    </a:lnTo>
                    <a:lnTo>
                      <a:pt x="514" y="8144"/>
                    </a:lnTo>
                    <a:lnTo>
                      <a:pt x="514" y="8498"/>
                    </a:lnTo>
                    <a:lnTo>
                      <a:pt x="0" y="8852"/>
                    </a:lnTo>
                    <a:lnTo>
                      <a:pt x="0" y="9914"/>
                    </a:lnTo>
                    <a:lnTo>
                      <a:pt x="514" y="10977"/>
                    </a:lnTo>
                    <a:lnTo>
                      <a:pt x="514" y="11685"/>
                    </a:lnTo>
                    <a:lnTo>
                      <a:pt x="1028" y="12393"/>
                    </a:lnTo>
                    <a:lnTo>
                      <a:pt x="1542" y="13455"/>
                    </a:lnTo>
                    <a:lnTo>
                      <a:pt x="3599" y="14872"/>
                    </a:lnTo>
                    <a:lnTo>
                      <a:pt x="5142" y="15226"/>
                    </a:lnTo>
                    <a:lnTo>
                      <a:pt x="7200" y="16642"/>
                    </a:lnTo>
                    <a:lnTo>
                      <a:pt x="8228" y="18059"/>
                    </a:lnTo>
                    <a:lnTo>
                      <a:pt x="8228" y="18767"/>
                    </a:lnTo>
                    <a:lnTo>
                      <a:pt x="8742" y="19121"/>
                    </a:lnTo>
                    <a:lnTo>
                      <a:pt x="8742" y="19829"/>
                    </a:lnTo>
                    <a:lnTo>
                      <a:pt x="11314" y="21599"/>
                    </a:lnTo>
                    <a:lnTo>
                      <a:pt x="14400" y="21599"/>
                    </a:lnTo>
                    <a:lnTo>
                      <a:pt x="16457" y="21245"/>
                    </a:lnTo>
                    <a:lnTo>
                      <a:pt x="19542" y="20183"/>
                    </a:lnTo>
                    <a:lnTo>
                      <a:pt x="20571" y="19475"/>
                    </a:lnTo>
                    <a:lnTo>
                      <a:pt x="21600" y="18413"/>
                    </a:lnTo>
                    <a:lnTo>
                      <a:pt x="21600" y="15580"/>
                    </a:lnTo>
                    <a:lnTo>
                      <a:pt x="21085" y="13455"/>
                    </a:lnTo>
                    <a:lnTo>
                      <a:pt x="20571" y="12039"/>
                    </a:lnTo>
                    <a:lnTo>
                      <a:pt x="20571" y="9560"/>
                    </a:lnTo>
                    <a:lnTo>
                      <a:pt x="20057" y="9560"/>
                    </a:lnTo>
                    <a:lnTo>
                      <a:pt x="19542" y="9914"/>
                    </a:lnTo>
                    <a:lnTo>
                      <a:pt x="16457" y="9914"/>
                    </a:lnTo>
                    <a:lnTo>
                      <a:pt x="15428" y="9560"/>
                    </a:lnTo>
                    <a:lnTo>
                      <a:pt x="15428" y="8498"/>
                    </a:lnTo>
                    <a:lnTo>
                      <a:pt x="15942" y="8144"/>
                    </a:lnTo>
                    <a:lnTo>
                      <a:pt x="16457" y="7436"/>
                    </a:lnTo>
                    <a:lnTo>
                      <a:pt x="17485" y="7081"/>
                    </a:lnTo>
                    <a:lnTo>
                      <a:pt x="18514" y="6373"/>
                    </a:lnTo>
                    <a:lnTo>
                      <a:pt x="19542" y="6373"/>
                    </a:lnTo>
                    <a:lnTo>
                      <a:pt x="20057" y="5665"/>
                    </a:lnTo>
                    <a:lnTo>
                      <a:pt x="20057" y="5311"/>
                    </a:lnTo>
                    <a:lnTo>
                      <a:pt x="20571" y="4249"/>
                    </a:lnTo>
                    <a:lnTo>
                      <a:pt x="20571" y="3540"/>
                    </a:lnTo>
                    <a:lnTo>
                      <a:pt x="19542" y="2124"/>
                    </a:lnTo>
                    <a:lnTo>
                      <a:pt x="18514" y="1770"/>
                    </a:lnTo>
                    <a:lnTo>
                      <a:pt x="17485" y="0"/>
                    </a:lnTo>
                    <a:lnTo>
                      <a:pt x="16457" y="0"/>
                    </a:lnTo>
                    <a:lnTo>
                      <a:pt x="14914" y="354"/>
                    </a:lnTo>
                    <a:lnTo>
                      <a:pt x="13885" y="708"/>
                    </a:lnTo>
                    <a:lnTo>
                      <a:pt x="10285" y="708"/>
                    </a:lnTo>
                    <a:lnTo>
                      <a:pt x="9257" y="354"/>
                    </a:lnTo>
                    <a:lnTo>
                      <a:pt x="8228" y="354"/>
                    </a:lnTo>
                    <a:lnTo>
                      <a:pt x="6171" y="1062"/>
                    </a:lnTo>
                    <a:lnTo>
                      <a:pt x="5657" y="1416"/>
                    </a:lnTo>
                    <a:lnTo>
                      <a:pt x="5142" y="2478"/>
                    </a:lnTo>
                    <a:lnTo>
                      <a:pt x="5142" y="4249"/>
                    </a:lnTo>
                    <a:lnTo>
                      <a:pt x="5657" y="4957"/>
                    </a:lnTo>
                    <a:lnTo>
                      <a:pt x="6171" y="6019"/>
                    </a:lnTo>
                    <a:lnTo>
                      <a:pt x="7200" y="6373"/>
                    </a:lnTo>
                    <a:lnTo>
                      <a:pt x="7200" y="6727"/>
                    </a:lnTo>
                    <a:lnTo>
                      <a:pt x="8228" y="7436"/>
                    </a:lnTo>
                    <a:lnTo>
                      <a:pt x="8228" y="8144"/>
                    </a:lnTo>
                    <a:lnTo>
                      <a:pt x="8742" y="8498"/>
                    </a:lnTo>
                    <a:lnTo>
                      <a:pt x="8742" y="9206"/>
                    </a:lnTo>
                    <a:lnTo>
                      <a:pt x="8228" y="9914"/>
                    </a:lnTo>
                    <a:lnTo>
                      <a:pt x="7200" y="10268"/>
                    </a:lnTo>
                    <a:lnTo>
                      <a:pt x="6685" y="10268"/>
                    </a:lnTo>
                    <a:lnTo>
                      <a:pt x="6171" y="9914"/>
                    </a:lnTo>
                    <a:lnTo>
                      <a:pt x="5142" y="9560"/>
                    </a:lnTo>
                    <a:lnTo>
                      <a:pt x="3599" y="8498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0" name="AutoShape 14"/>
              <p:cNvSpPr>
                <a:spLocks/>
              </p:cNvSpPr>
              <p:nvPr/>
            </p:nvSpPr>
            <p:spPr bwMode="auto">
              <a:xfrm>
                <a:off x="1104901" y="323672"/>
                <a:ext cx="76200" cy="11106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0"/>
                    </a:moveTo>
                    <a:lnTo>
                      <a:pt x="8258" y="0"/>
                    </a:lnTo>
                    <a:lnTo>
                      <a:pt x="6988" y="407"/>
                    </a:lnTo>
                    <a:lnTo>
                      <a:pt x="6352" y="815"/>
                    </a:lnTo>
                    <a:lnTo>
                      <a:pt x="6352" y="407"/>
                    </a:lnTo>
                    <a:lnTo>
                      <a:pt x="5082" y="407"/>
                    </a:lnTo>
                    <a:lnTo>
                      <a:pt x="4447" y="815"/>
                    </a:lnTo>
                    <a:lnTo>
                      <a:pt x="1905" y="4075"/>
                    </a:lnTo>
                    <a:lnTo>
                      <a:pt x="1270" y="4483"/>
                    </a:lnTo>
                    <a:lnTo>
                      <a:pt x="0" y="6113"/>
                    </a:lnTo>
                    <a:lnTo>
                      <a:pt x="635" y="6520"/>
                    </a:lnTo>
                    <a:lnTo>
                      <a:pt x="1270" y="7335"/>
                    </a:lnTo>
                    <a:lnTo>
                      <a:pt x="1270" y="8558"/>
                    </a:lnTo>
                    <a:lnTo>
                      <a:pt x="635" y="9373"/>
                    </a:lnTo>
                    <a:lnTo>
                      <a:pt x="635" y="12226"/>
                    </a:lnTo>
                    <a:lnTo>
                      <a:pt x="1270" y="13449"/>
                    </a:lnTo>
                    <a:lnTo>
                      <a:pt x="1905" y="15079"/>
                    </a:lnTo>
                    <a:lnTo>
                      <a:pt x="2541" y="21192"/>
                    </a:lnTo>
                    <a:lnTo>
                      <a:pt x="3176" y="21599"/>
                    </a:lnTo>
                    <a:lnTo>
                      <a:pt x="5717" y="21599"/>
                    </a:lnTo>
                    <a:lnTo>
                      <a:pt x="6352" y="21192"/>
                    </a:lnTo>
                    <a:lnTo>
                      <a:pt x="7623" y="20784"/>
                    </a:lnTo>
                    <a:lnTo>
                      <a:pt x="7623" y="19969"/>
                    </a:lnTo>
                    <a:lnTo>
                      <a:pt x="8258" y="18339"/>
                    </a:lnTo>
                    <a:lnTo>
                      <a:pt x="7623" y="17932"/>
                    </a:lnTo>
                    <a:lnTo>
                      <a:pt x="7623" y="16709"/>
                    </a:lnTo>
                    <a:lnTo>
                      <a:pt x="6988" y="15894"/>
                    </a:lnTo>
                    <a:lnTo>
                      <a:pt x="6988" y="15486"/>
                    </a:lnTo>
                    <a:lnTo>
                      <a:pt x="7623" y="14671"/>
                    </a:lnTo>
                    <a:lnTo>
                      <a:pt x="8258" y="14264"/>
                    </a:lnTo>
                    <a:lnTo>
                      <a:pt x="9529" y="13856"/>
                    </a:lnTo>
                    <a:lnTo>
                      <a:pt x="12070" y="13856"/>
                    </a:lnTo>
                    <a:lnTo>
                      <a:pt x="12705" y="13449"/>
                    </a:lnTo>
                    <a:lnTo>
                      <a:pt x="13976" y="13449"/>
                    </a:lnTo>
                    <a:lnTo>
                      <a:pt x="16517" y="11818"/>
                    </a:lnTo>
                    <a:lnTo>
                      <a:pt x="17152" y="10596"/>
                    </a:lnTo>
                    <a:lnTo>
                      <a:pt x="17152" y="10188"/>
                    </a:lnTo>
                    <a:lnTo>
                      <a:pt x="17788" y="9781"/>
                    </a:lnTo>
                    <a:lnTo>
                      <a:pt x="19058" y="8558"/>
                    </a:lnTo>
                    <a:lnTo>
                      <a:pt x="19694" y="7743"/>
                    </a:lnTo>
                    <a:lnTo>
                      <a:pt x="19694" y="6113"/>
                    </a:lnTo>
                    <a:lnTo>
                      <a:pt x="20329" y="4890"/>
                    </a:lnTo>
                    <a:lnTo>
                      <a:pt x="20329" y="4483"/>
                    </a:lnTo>
                    <a:lnTo>
                      <a:pt x="21600" y="3667"/>
                    </a:lnTo>
                    <a:lnTo>
                      <a:pt x="21600" y="2445"/>
                    </a:lnTo>
                    <a:lnTo>
                      <a:pt x="20964" y="2037"/>
                    </a:lnTo>
                    <a:lnTo>
                      <a:pt x="19694" y="1630"/>
                    </a:lnTo>
                    <a:lnTo>
                      <a:pt x="13976" y="1630"/>
                    </a:lnTo>
                    <a:lnTo>
                      <a:pt x="11435" y="815"/>
                    </a:lnTo>
                    <a:lnTo>
                      <a:pt x="1080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1" name="AutoShape 15"/>
              <p:cNvSpPr>
                <a:spLocks/>
              </p:cNvSpPr>
              <p:nvPr/>
            </p:nvSpPr>
            <p:spPr bwMode="auto">
              <a:xfrm>
                <a:off x="654050" y="295113"/>
                <a:ext cx="117475" cy="12217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30" y="14896"/>
                    </a:moveTo>
                    <a:lnTo>
                      <a:pt x="415" y="14896"/>
                    </a:lnTo>
                    <a:lnTo>
                      <a:pt x="0" y="15268"/>
                    </a:lnTo>
                    <a:lnTo>
                      <a:pt x="0" y="16758"/>
                    </a:lnTo>
                    <a:lnTo>
                      <a:pt x="830" y="17131"/>
                    </a:lnTo>
                    <a:lnTo>
                      <a:pt x="1246" y="17503"/>
                    </a:lnTo>
                    <a:lnTo>
                      <a:pt x="1661" y="17503"/>
                    </a:lnTo>
                    <a:lnTo>
                      <a:pt x="2076" y="17875"/>
                    </a:lnTo>
                    <a:lnTo>
                      <a:pt x="2907" y="19365"/>
                    </a:lnTo>
                    <a:lnTo>
                      <a:pt x="2907" y="20482"/>
                    </a:lnTo>
                    <a:lnTo>
                      <a:pt x="3323" y="20482"/>
                    </a:lnTo>
                    <a:lnTo>
                      <a:pt x="4153" y="21227"/>
                    </a:lnTo>
                    <a:lnTo>
                      <a:pt x="4984" y="21600"/>
                    </a:lnTo>
                    <a:lnTo>
                      <a:pt x="5815" y="21600"/>
                    </a:lnTo>
                    <a:lnTo>
                      <a:pt x="7061" y="20482"/>
                    </a:lnTo>
                    <a:lnTo>
                      <a:pt x="7061" y="20110"/>
                    </a:lnTo>
                    <a:lnTo>
                      <a:pt x="7476" y="19737"/>
                    </a:lnTo>
                    <a:lnTo>
                      <a:pt x="7892" y="19737"/>
                    </a:lnTo>
                    <a:lnTo>
                      <a:pt x="8723" y="19365"/>
                    </a:lnTo>
                    <a:lnTo>
                      <a:pt x="9553" y="19737"/>
                    </a:lnTo>
                    <a:lnTo>
                      <a:pt x="10384" y="19737"/>
                    </a:lnTo>
                    <a:lnTo>
                      <a:pt x="11215" y="18993"/>
                    </a:lnTo>
                    <a:lnTo>
                      <a:pt x="11215" y="18248"/>
                    </a:lnTo>
                    <a:lnTo>
                      <a:pt x="11630" y="17131"/>
                    </a:lnTo>
                    <a:lnTo>
                      <a:pt x="11630" y="16386"/>
                    </a:lnTo>
                    <a:lnTo>
                      <a:pt x="12461" y="13779"/>
                    </a:lnTo>
                    <a:lnTo>
                      <a:pt x="14123" y="11172"/>
                    </a:lnTo>
                    <a:lnTo>
                      <a:pt x="17030" y="8937"/>
                    </a:lnTo>
                    <a:lnTo>
                      <a:pt x="21600" y="7448"/>
                    </a:lnTo>
                    <a:lnTo>
                      <a:pt x="21600" y="5958"/>
                    </a:lnTo>
                    <a:lnTo>
                      <a:pt x="21184" y="5586"/>
                    </a:lnTo>
                    <a:lnTo>
                      <a:pt x="19523" y="4841"/>
                    </a:lnTo>
                    <a:lnTo>
                      <a:pt x="18276" y="3724"/>
                    </a:lnTo>
                    <a:lnTo>
                      <a:pt x="18276" y="3351"/>
                    </a:lnTo>
                    <a:lnTo>
                      <a:pt x="17446" y="2606"/>
                    </a:lnTo>
                    <a:lnTo>
                      <a:pt x="16199" y="2606"/>
                    </a:lnTo>
                    <a:lnTo>
                      <a:pt x="14953" y="3724"/>
                    </a:lnTo>
                    <a:lnTo>
                      <a:pt x="14538" y="3724"/>
                    </a:lnTo>
                    <a:lnTo>
                      <a:pt x="14538" y="4096"/>
                    </a:lnTo>
                    <a:lnTo>
                      <a:pt x="14123" y="4096"/>
                    </a:lnTo>
                    <a:lnTo>
                      <a:pt x="13707" y="3724"/>
                    </a:lnTo>
                    <a:lnTo>
                      <a:pt x="13707" y="2979"/>
                    </a:lnTo>
                    <a:lnTo>
                      <a:pt x="12046" y="1489"/>
                    </a:lnTo>
                    <a:lnTo>
                      <a:pt x="10800" y="1489"/>
                    </a:lnTo>
                    <a:lnTo>
                      <a:pt x="10384" y="2234"/>
                    </a:lnTo>
                    <a:lnTo>
                      <a:pt x="8723" y="1862"/>
                    </a:lnTo>
                    <a:lnTo>
                      <a:pt x="9138" y="1489"/>
                    </a:lnTo>
                    <a:lnTo>
                      <a:pt x="9138" y="1117"/>
                    </a:lnTo>
                    <a:lnTo>
                      <a:pt x="9553" y="744"/>
                    </a:lnTo>
                    <a:lnTo>
                      <a:pt x="9553" y="0"/>
                    </a:lnTo>
                    <a:lnTo>
                      <a:pt x="8307" y="0"/>
                    </a:lnTo>
                    <a:lnTo>
                      <a:pt x="7061" y="372"/>
                    </a:lnTo>
                    <a:lnTo>
                      <a:pt x="6230" y="744"/>
                    </a:lnTo>
                    <a:lnTo>
                      <a:pt x="5399" y="1489"/>
                    </a:lnTo>
                    <a:lnTo>
                      <a:pt x="5399" y="1862"/>
                    </a:lnTo>
                    <a:lnTo>
                      <a:pt x="3738" y="1862"/>
                    </a:lnTo>
                    <a:lnTo>
                      <a:pt x="3323" y="2234"/>
                    </a:lnTo>
                    <a:lnTo>
                      <a:pt x="3323" y="2606"/>
                    </a:lnTo>
                    <a:lnTo>
                      <a:pt x="2907" y="3351"/>
                    </a:lnTo>
                    <a:lnTo>
                      <a:pt x="2907" y="4468"/>
                    </a:lnTo>
                    <a:lnTo>
                      <a:pt x="3323" y="4841"/>
                    </a:lnTo>
                    <a:lnTo>
                      <a:pt x="3323" y="5213"/>
                    </a:lnTo>
                    <a:lnTo>
                      <a:pt x="3738" y="5586"/>
                    </a:lnTo>
                    <a:lnTo>
                      <a:pt x="3738" y="6703"/>
                    </a:lnTo>
                    <a:lnTo>
                      <a:pt x="2492" y="8937"/>
                    </a:lnTo>
                    <a:lnTo>
                      <a:pt x="1661" y="10055"/>
                    </a:lnTo>
                    <a:lnTo>
                      <a:pt x="1246" y="11917"/>
                    </a:lnTo>
                    <a:lnTo>
                      <a:pt x="830" y="1489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2" name="AutoShape 16"/>
              <p:cNvSpPr>
                <a:spLocks/>
              </p:cNvSpPr>
              <p:nvPr/>
            </p:nvSpPr>
            <p:spPr bwMode="auto">
              <a:xfrm>
                <a:off x="717550" y="353817"/>
                <a:ext cx="261938" cy="19515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234" y="8593"/>
                    </a:moveTo>
                    <a:lnTo>
                      <a:pt x="2234" y="8825"/>
                    </a:lnTo>
                    <a:lnTo>
                      <a:pt x="3724" y="8825"/>
                    </a:lnTo>
                    <a:lnTo>
                      <a:pt x="3910" y="8593"/>
                    </a:lnTo>
                    <a:lnTo>
                      <a:pt x="4282" y="8593"/>
                    </a:lnTo>
                    <a:lnTo>
                      <a:pt x="4282" y="9290"/>
                    </a:lnTo>
                    <a:lnTo>
                      <a:pt x="4096" y="9754"/>
                    </a:lnTo>
                    <a:lnTo>
                      <a:pt x="3910" y="9987"/>
                    </a:lnTo>
                    <a:lnTo>
                      <a:pt x="3351" y="9987"/>
                    </a:lnTo>
                    <a:lnTo>
                      <a:pt x="2793" y="10219"/>
                    </a:lnTo>
                    <a:lnTo>
                      <a:pt x="2606" y="10219"/>
                    </a:lnTo>
                    <a:lnTo>
                      <a:pt x="2420" y="9987"/>
                    </a:lnTo>
                    <a:lnTo>
                      <a:pt x="1303" y="9987"/>
                    </a:lnTo>
                    <a:lnTo>
                      <a:pt x="931" y="10219"/>
                    </a:lnTo>
                    <a:lnTo>
                      <a:pt x="744" y="10451"/>
                    </a:lnTo>
                    <a:lnTo>
                      <a:pt x="744" y="11845"/>
                    </a:lnTo>
                    <a:lnTo>
                      <a:pt x="931" y="11845"/>
                    </a:lnTo>
                    <a:lnTo>
                      <a:pt x="1303" y="12077"/>
                    </a:lnTo>
                    <a:lnTo>
                      <a:pt x="1862" y="12077"/>
                    </a:lnTo>
                    <a:lnTo>
                      <a:pt x="2420" y="12309"/>
                    </a:lnTo>
                    <a:lnTo>
                      <a:pt x="3351" y="12309"/>
                    </a:lnTo>
                    <a:lnTo>
                      <a:pt x="3910" y="12077"/>
                    </a:lnTo>
                    <a:lnTo>
                      <a:pt x="6331" y="12077"/>
                    </a:lnTo>
                    <a:lnTo>
                      <a:pt x="7448" y="12309"/>
                    </a:lnTo>
                    <a:lnTo>
                      <a:pt x="8006" y="13006"/>
                    </a:lnTo>
                    <a:lnTo>
                      <a:pt x="8006" y="14400"/>
                    </a:lnTo>
                    <a:lnTo>
                      <a:pt x="7820" y="14864"/>
                    </a:lnTo>
                    <a:lnTo>
                      <a:pt x="7448" y="15329"/>
                    </a:lnTo>
                    <a:lnTo>
                      <a:pt x="7075" y="15329"/>
                    </a:lnTo>
                    <a:lnTo>
                      <a:pt x="6517" y="15096"/>
                    </a:lnTo>
                    <a:lnTo>
                      <a:pt x="6331" y="14864"/>
                    </a:lnTo>
                    <a:lnTo>
                      <a:pt x="5213" y="14864"/>
                    </a:lnTo>
                    <a:lnTo>
                      <a:pt x="4655" y="15096"/>
                    </a:lnTo>
                    <a:lnTo>
                      <a:pt x="3910" y="15329"/>
                    </a:lnTo>
                    <a:lnTo>
                      <a:pt x="3724" y="15329"/>
                    </a:lnTo>
                    <a:lnTo>
                      <a:pt x="3537" y="15096"/>
                    </a:lnTo>
                    <a:lnTo>
                      <a:pt x="2793" y="15096"/>
                    </a:lnTo>
                    <a:lnTo>
                      <a:pt x="2420" y="15329"/>
                    </a:lnTo>
                    <a:lnTo>
                      <a:pt x="2234" y="15561"/>
                    </a:lnTo>
                    <a:lnTo>
                      <a:pt x="1862" y="16490"/>
                    </a:lnTo>
                    <a:lnTo>
                      <a:pt x="1862" y="16722"/>
                    </a:lnTo>
                    <a:lnTo>
                      <a:pt x="2234" y="17187"/>
                    </a:lnTo>
                    <a:lnTo>
                      <a:pt x="2420" y="17651"/>
                    </a:lnTo>
                    <a:lnTo>
                      <a:pt x="2979" y="17883"/>
                    </a:lnTo>
                    <a:lnTo>
                      <a:pt x="3724" y="18348"/>
                    </a:lnTo>
                    <a:lnTo>
                      <a:pt x="4468" y="18580"/>
                    </a:lnTo>
                    <a:lnTo>
                      <a:pt x="4655" y="18812"/>
                    </a:lnTo>
                    <a:lnTo>
                      <a:pt x="4841" y="18812"/>
                    </a:lnTo>
                    <a:lnTo>
                      <a:pt x="5399" y="19277"/>
                    </a:lnTo>
                    <a:lnTo>
                      <a:pt x="5772" y="19509"/>
                    </a:lnTo>
                    <a:lnTo>
                      <a:pt x="6144" y="20206"/>
                    </a:lnTo>
                    <a:lnTo>
                      <a:pt x="6331" y="20670"/>
                    </a:lnTo>
                    <a:lnTo>
                      <a:pt x="6517" y="21600"/>
                    </a:lnTo>
                    <a:lnTo>
                      <a:pt x="7075" y="21367"/>
                    </a:lnTo>
                    <a:lnTo>
                      <a:pt x="8379" y="21135"/>
                    </a:lnTo>
                    <a:lnTo>
                      <a:pt x="10241" y="20670"/>
                    </a:lnTo>
                    <a:lnTo>
                      <a:pt x="12103" y="19741"/>
                    </a:lnTo>
                    <a:lnTo>
                      <a:pt x="13593" y="18812"/>
                    </a:lnTo>
                    <a:lnTo>
                      <a:pt x="15268" y="18812"/>
                    </a:lnTo>
                    <a:lnTo>
                      <a:pt x="15827" y="19045"/>
                    </a:lnTo>
                    <a:lnTo>
                      <a:pt x="16572" y="19974"/>
                    </a:lnTo>
                    <a:lnTo>
                      <a:pt x="16944" y="19974"/>
                    </a:lnTo>
                    <a:lnTo>
                      <a:pt x="17317" y="19509"/>
                    </a:lnTo>
                    <a:lnTo>
                      <a:pt x="17503" y="19509"/>
                    </a:lnTo>
                    <a:lnTo>
                      <a:pt x="17875" y="19974"/>
                    </a:lnTo>
                    <a:lnTo>
                      <a:pt x="18062" y="19974"/>
                    </a:lnTo>
                    <a:lnTo>
                      <a:pt x="18806" y="19509"/>
                    </a:lnTo>
                    <a:lnTo>
                      <a:pt x="19365" y="19045"/>
                    </a:lnTo>
                    <a:lnTo>
                      <a:pt x="19551" y="18812"/>
                    </a:lnTo>
                    <a:lnTo>
                      <a:pt x="19551" y="18116"/>
                    </a:lnTo>
                    <a:lnTo>
                      <a:pt x="19365" y="17883"/>
                    </a:lnTo>
                    <a:lnTo>
                      <a:pt x="18434" y="17883"/>
                    </a:lnTo>
                    <a:lnTo>
                      <a:pt x="18434" y="17651"/>
                    </a:lnTo>
                    <a:lnTo>
                      <a:pt x="18248" y="17651"/>
                    </a:lnTo>
                    <a:lnTo>
                      <a:pt x="18062" y="17419"/>
                    </a:lnTo>
                    <a:lnTo>
                      <a:pt x="18062" y="17187"/>
                    </a:lnTo>
                    <a:lnTo>
                      <a:pt x="18248" y="16954"/>
                    </a:lnTo>
                    <a:lnTo>
                      <a:pt x="18620" y="16722"/>
                    </a:lnTo>
                    <a:lnTo>
                      <a:pt x="18993" y="16722"/>
                    </a:lnTo>
                    <a:lnTo>
                      <a:pt x="19365" y="16490"/>
                    </a:lnTo>
                    <a:lnTo>
                      <a:pt x="19737" y="16490"/>
                    </a:lnTo>
                    <a:lnTo>
                      <a:pt x="20296" y="16258"/>
                    </a:lnTo>
                    <a:lnTo>
                      <a:pt x="20668" y="16490"/>
                    </a:lnTo>
                    <a:lnTo>
                      <a:pt x="21227" y="16490"/>
                    </a:lnTo>
                    <a:lnTo>
                      <a:pt x="21600" y="16025"/>
                    </a:lnTo>
                    <a:lnTo>
                      <a:pt x="21600" y="15329"/>
                    </a:lnTo>
                    <a:lnTo>
                      <a:pt x="21413" y="14864"/>
                    </a:lnTo>
                    <a:lnTo>
                      <a:pt x="21041" y="14632"/>
                    </a:lnTo>
                    <a:lnTo>
                      <a:pt x="20482" y="14400"/>
                    </a:lnTo>
                    <a:lnTo>
                      <a:pt x="20110" y="14167"/>
                    </a:lnTo>
                    <a:lnTo>
                      <a:pt x="19551" y="13703"/>
                    </a:lnTo>
                    <a:lnTo>
                      <a:pt x="18806" y="13470"/>
                    </a:lnTo>
                    <a:lnTo>
                      <a:pt x="17317" y="13238"/>
                    </a:lnTo>
                    <a:lnTo>
                      <a:pt x="16572" y="11380"/>
                    </a:lnTo>
                    <a:lnTo>
                      <a:pt x="16200" y="9058"/>
                    </a:lnTo>
                    <a:lnTo>
                      <a:pt x="16200" y="6038"/>
                    </a:lnTo>
                    <a:lnTo>
                      <a:pt x="16013" y="5574"/>
                    </a:lnTo>
                    <a:lnTo>
                      <a:pt x="15827" y="4412"/>
                    </a:lnTo>
                    <a:lnTo>
                      <a:pt x="15455" y="3251"/>
                    </a:lnTo>
                    <a:lnTo>
                      <a:pt x="14896" y="2322"/>
                    </a:lnTo>
                    <a:lnTo>
                      <a:pt x="13965" y="2090"/>
                    </a:lnTo>
                    <a:lnTo>
                      <a:pt x="13779" y="2322"/>
                    </a:lnTo>
                    <a:lnTo>
                      <a:pt x="13593" y="2787"/>
                    </a:lnTo>
                    <a:lnTo>
                      <a:pt x="13220" y="3251"/>
                    </a:lnTo>
                    <a:lnTo>
                      <a:pt x="13034" y="3716"/>
                    </a:lnTo>
                    <a:lnTo>
                      <a:pt x="13034" y="4877"/>
                    </a:lnTo>
                    <a:lnTo>
                      <a:pt x="11731" y="2787"/>
                    </a:lnTo>
                    <a:lnTo>
                      <a:pt x="11731" y="2554"/>
                    </a:lnTo>
                    <a:lnTo>
                      <a:pt x="11544" y="2554"/>
                    </a:lnTo>
                    <a:lnTo>
                      <a:pt x="10986" y="1858"/>
                    </a:lnTo>
                    <a:lnTo>
                      <a:pt x="10800" y="2090"/>
                    </a:lnTo>
                    <a:lnTo>
                      <a:pt x="10427" y="2322"/>
                    </a:lnTo>
                    <a:lnTo>
                      <a:pt x="10055" y="3251"/>
                    </a:lnTo>
                    <a:lnTo>
                      <a:pt x="9682" y="3716"/>
                    </a:lnTo>
                    <a:lnTo>
                      <a:pt x="9310" y="3483"/>
                    </a:lnTo>
                    <a:lnTo>
                      <a:pt x="9124" y="3019"/>
                    </a:lnTo>
                    <a:lnTo>
                      <a:pt x="8937" y="2322"/>
                    </a:lnTo>
                    <a:lnTo>
                      <a:pt x="8751" y="1858"/>
                    </a:lnTo>
                    <a:lnTo>
                      <a:pt x="8379" y="1393"/>
                    </a:lnTo>
                    <a:lnTo>
                      <a:pt x="8193" y="929"/>
                    </a:lnTo>
                    <a:lnTo>
                      <a:pt x="8006" y="696"/>
                    </a:lnTo>
                    <a:lnTo>
                      <a:pt x="7820" y="696"/>
                    </a:lnTo>
                    <a:lnTo>
                      <a:pt x="7448" y="1161"/>
                    </a:lnTo>
                    <a:lnTo>
                      <a:pt x="7448" y="3251"/>
                    </a:lnTo>
                    <a:lnTo>
                      <a:pt x="7262" y="3716"/>
                    </a:lnTo>
                    <a:lnTo>
                      <a:pt x="7075" y="3948"/>
                    </a:lnTo>
                    <a:lnTo>
                      <a:pt x="6517" y="3948"/>
                    </a:lnTo>
                    <a:lnTo>
                      <a:pt x="6144" y="3716"/>
                    </a:lnTo>
                    <a:lnTo>
                      <a:pt x="5772" y="2787"/>
                    </a:lnTo>
                    <a:lnTo>
                      <a:pt x="5772" y="1625"/>
                    </a:lnTo>
                    <a:lnTo>
                      <a:pt x="5958" y="1161"/>
                    </a:lnTo>
                    <a:lnTo>
                      <a:pt x="5958" y="464"/>
                    </a:lnTo>
                    <a:lnTo>
                      <a:pt x="5586" y="0"/>
                    </a:lnTo>
                    <a:lnTo>
                      <a:pt x="5027" y="0"/>
                    </a:lnTo>
                    <a:lnTo>
                      <a:pt x="4655" y="232"/>
                    </a:lnTo>
                    <a:lnTo>
                      <a:pt x="3724" y="929"/>
                    </a:lnTo>
                    <a:lnTo>
                      <a:pt x="2420" y="1858"/>
                    </a:lnTo>
                    <a:lnTo>
                      <a:pt x="1303" y="2787"/>
                    </a:lnTo>
                    <a:lnTo>
                      <a:pt x="744" y="4180"/>
                    </a:lnTo>
                    <a:lnTo>
                      <a:pt x="744" y="5109"/>
                    </a:lnTo>
                    <a:lnTo>
                      <a:pt x="558" y="5574"/>
                    </a:lnTo>
                    <a:lnTo>
                      <a:pt x="558" y="6038"/>
                    </a:lnTo>
                    <a:lnTo>
                      <a:pt x="186" y="6503"/>
                    </a:lnTo>
                    <a:lnTo>
                      <a:pt x="186" y="6735"/>
                    </a:lnTo>
                    <a:lnTo>
                      <a:pt x="0" y="6967"/>
                    </a:lnTo>
                    <a:lnTo>
                      <a:pt x="0" y="7896"/>
                    </a:lnTo>
                    <a:lnTo>
                      <a:pt x="186" y="8129"/>
                    </a:lnTo>
                    <a:lnTo>
                      <a:pt x="931" y="8593"/>
                    </a:lnTo>
                    <a:lnTo>
                      <a:pt x="2234" y="8593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3" name="AutoShape 17"/>
              <p:cNvSpPr>
                <a:spLocks/>
              </p:cNvSpPr>
              <p:nvPr/>
            </p:nvSpPr>
            <p:spPr bwMode="auto">
              <a:xfrm>
                <a:off x="725488" y="130103"/>
                <a:ext cx="133350" cy="9361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983" y="4799"/>
                    </a:moveTo>
                    <a:lnTo>
                      <a:pt x="10616" y="5279"/>
                    </a:lnTo>
                    <a:lnTo>
                      <a:pt x="9518" y="7199"/>
                    </a:lnTo>
                    <a:lnTo>
                      <a:pt x="8054" y="9599"/>
                    </a:lnTo>
                    <a:lnTo>
                      <a:pt x="6589" y="12479"/>
                    </a:lnTo>
                    <a:lnTo>
                      <a:pt x="4759" y="14399"/>
                    </a:lnTo>
                    <a:lnTo>
                      <a:pt x="3294" y="15839"/>
                    </a:lnTo>
                    <a:lnTo>
                      <a:pt x="2562" y="15839"/>
                    </a:lnTo>
                    <a:lnTo>
                      <a:pt x="2196" y="16319"/>
                    </a:lnTo>
                    <a:lnTo>
                      <a:pt x="366" y="16319"/>
                    </a:lnTo>
                    <a:lnTo>
                      <a:pt x="0" y="16799"/>
                    </a:lnTo>
                    <a:lnTo>
                      <a:pt x="0" y="17760"/>
                    </a:lnTo>
                    <a:lnTo>
                      <a:pt x="366" y="18240"/>
                    </a:lnTo>
                    <a:lnTo>
                      <a:pt x="1098" y="19680"/>
                    </a:lnTo>
                    <a:lnTo>
                      <a:pt x="3294" y="21120"/>
                    </a:lnTo>
                    <a:lnTo>
                      <a:pt x="5125" y="21600"/>
                    </a:lnTo>
                    <a:lnTo>
                      <a:pt x="7322" y="20160"/>
                    </a:lnTo>
                    <a:lnTo>
                      <a:pt x="7322" y="20640"/>
                    </a:lnTo>
                    <a:lnTo>
                      <a:pt x="7688" y="20640"/>
                    </a:lnTo>
                    <a:lnTo>
                      <a:pt x="8420" y="21600"/>
                    </a:lnTo>
                    <a:lnTo>
                      <a:pt x="9152" y="21600"/>
                    </a:lnTo>
                    <a:lnTo>
                      <a:pt x="10250" y="21120"/>
                    </a:lnTo>
                    <a:lnTo>
                      <a:pt x="10616" y="21120"/>
                    </a:lnTo>
                    <a:lnTo>
                      <a:pt x="10983" y="20640"/>
                    </a:lnTo>
                    <a:lnTo>
                      <a:pt x="11349" y="19680"/>
                    </a:lnTo>
                    <a:lnTo>
                      <a:pt x="12813" y="17760"/>
                    </a:lnTo>
                    <a:lnTo>
                      <a:pt x="13179" y="16319"/>
                    </a:lnTo>
                    <a:lnTo>
                      <a:pt x="13911" y="15359"/>
                    </a:lnTo>
                    <a:lnTo>
                      <a:pt x="14277" y="13919"/>
                    </a:lnTo>
                    <a:lnTo>
                      <a:pt x="14644" y="14399"/>
                    </a:lnTo>
                    <a:lnTo>
                      <a:pt x="16108" y="15359"/>
                    </a:lnTo>
                    <a:lnTo>
                      <a:pt x="16840" y="15359"/>
                    </a:lnTo>
                    <a:lnTo>
                      <a:pt x="17938" y="14879"/>
                    </a:lnTo>
                    <a:lnTo>
                      <a:pt x="18671" y="13439"/>
                    </a:lnTo>
                    <a:lnTo>
                      <a:pt x="19403" y="12479"/>
                    </a:lnTo>
                    <a:lnTo>
                      <a:pt x="19403" y="10559"/>
                    </a:lnTo>
                    <a:lnTo>
                      <a:pt x="18671" y="10079"/>
                    </a:lnTo>
                    <a:lnTo>
                      <a:pt x="19037" y="10079"/>
                    </a:lnTo>
                    <a:lnTo>
                      <a:pt x="19037" y="9599"/>
                    </a:lnTo>
                    <a:lnTo>
                      <a:pt x="19403" y="9119"/>
                    </a:lnTo>
                    <a:lnTo>
                      <a:pt x="20135" y="7199"/>
                    </a:lnTo>
                    <a:lnTo>
                      <a:pt x="20135" y="6719"/>
                    </a:lnTo>
                    <a:lnTo>
                      <a:pt x="19769" y="6239"/>
                    </a:lnTo>
                    <a:lnTo>
                      <a:pt x="19769" y="5279"/>
                    </a:lnTo>
                    <a:lnTo>
                      <a:pt x="20135" y="4799"/>
                    </a:lnTo>
                    <a:lnTo>
                      <a:pt x="20501" y="3839"/>
                    </a:lnTo>
                    <a:lnTo>
                      <a:pt x="20867" y="3359"/>
                    </a:lnTo>
                    <a:lnTo>
                      <a:pt x="21233" y="3359"/>
                    </a:lnTo>
                    <a:lnTo>
                      <a:pt x="21599" y="2879"/>
                    </a:lnTo>
                    <a:lnTo>
                      <a:pt x="21233" y="2879"/>
                    </a:lnTo>
                    <a:lnTo>
                      <a:pt x="19769" y="959"/>
                    </a:lnTo>
                    <a:lnTo>
                      <a:pt x="19037" y="479"/>
                    </a:lnTo>
                    <a:lnTo>
                      <a:pt x="18671" y="0"/>
                    </a:lnTo>
                    <a:lnTo>
                      <a:pt x="18305" y="0"/>
                    </a:lnTo>
                    <a:lnTo>
                      <a:pt x="15742" y="2879"/>
                    </a:lnTo>
                    <a:lnTo>
                      <a:pt x="13911" y="2879"/>
                    </a:lnTo>
                    <a:lnTo>
                      <a:pt x="11715" y="3839"/>
                    </a:lnTo>
                    <a:lnTo>
                      <a:pt x="10983" y="47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4" name="AutoShape 18"/>
              <p:cNvSpPr>
                <a:spLocks/>
              </p:cNvSpPr>
              <p:nvPr/>
            </p:nvSpPr>
            <p:spPr bwMode="auto">
              <a:xfrm>
                <a:off x="852488" y="88851"/>
                <a:ext cx="25400" cy="2855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709" y="1542"/>
                    </a:moveTo>
                    <a:lnTo>
                      <a:pt x="13745" y="1542"/>
                    </a:lnTo>
                    <a:lnTo>
                      <a:pt x="11781" y="0"/>
                    </a:lnTo>
                    <a:lnTo>
                      <a:pt x="5890" y="0"/>
                    </a:lnTo>
                    <a:lnTo>
                      <a:pt x="1963" y="3085"/>
                    </a:lnTo>
                    <a:lnTo>
                      <a:pt x="1963" y="6171"/>
                    </a:lnTo>
                    <a:lnTo>
                      <a:pt x="0" y="9257"/>
                    </a:lnTo>
                    <a:lnTo>
                      <a:pt x="1963" y="15428"/>
                    </a:lnTo>
                    <a:lnTo>
                      <a:pt x="5890" y="18514"/>
                    </a:lnTo>
                    <a:lnTo>
                      <a:pt x="9818" y="20057"/>
                    </a:lnTo>
                    <a:lnTo>
                      <a:pt x="13745" y="20057"/>
                    </a:lnTo>
                    <a:lnTo>
                      <a:pt x="15709" y="21600"/>
                    </a:lnTo>
                    <a:lnTo>
                      <a:pt x="19636" y="20057"/>
                    </a:lnTo>
                    <a:lnTo>
                      <a:pt x="21599" y="18514"/>
                    </a:lnTo>
                    <a:lnTo>
                      <a:pt x="21599" y="7714"/>
                    </a:lnTo>
                    <a:lnTo>
                      <a:pt x="19636" y="4628"/>
                    </a:lnTo>
                    <a:lnTo>
                      <a:pt x="15709" y="154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5" name="AutoShape 19"/>
              <p:cNvSpPr>
                <a:spLocks/>
              </p:cNvSpPr>
              <p:nvPr/>
            </p:nvSpPr>
            <p:spPr bwMode="auto">
              <a:xfrm>
                <a:off x="882650" y="49185"/>
                <a:ext cx="76200" cy="4283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811" y="6171"/>
                    </a:moveTo>
                    <a:lnTo>
                      <a:pt x="3176" y="7200"/>
                    </a:lnTo>
                    <a:lnTo>
                      <a:pt x="2541" y="7200"/>
                    </a:lnTo>
                    <a:lnTo>
                      <a:pt x="635" y="10285"/>
                    </a:lnTo>
                    <a:lnTo>
                      <a:pt x="0" y="12342"/>
                    </a:lnTo>
                    <a:lnTo>
                      <a:pt x="0" y="13371"/>
                    </a:lnTo>
                    <a:lnTo>
                      <a:pt x="1270" y="17485"/>
                    </a:lnTo>
                    <a:lnTo>
                      <a:pt x="3176" y="18514"/>
                    </a:lnTo>
                    <a:lnTo>
                      <a:pt x="3811" y="18514"/>
                    </a:lnTo>
                    <a:lnTo>
                      <a:pt x="3811" y="17485"/>
                    </a:lnTo>
                    <a:lnTo>
                      <a:pt x="5717" y="14400"/>
                    </a:lnTo>
                    <a:lnTo>
                      <a:pt x="6988" y="13371"/>
                    </a:lnTo>
                    <a:lnTo>
                      <a:pt x="8258" y="14400"/>
                    </a:lnTo>
                    <a:lnTo>
                      <a:pt x="11435" y="19542"/>
                    </a:lnTo>
                    <a:lnTo>
                      <a:pt x="13341" y="21600"/>
                    </a:lnTo>
                    <a:lnTo>
                      <a:pt x="16517" y="20571"/>
                    </a:lnTo>
                    <a:lnTo>
                      <a:pt x="19694" y="16457"/>
                    </a:lnTo>
                    <a:lnTo>
                      <a:pt x="21599" y="13371"/>
                    </a:lnTo>
                    <a:lnTo>
                      <a:pt x="21599" y="11314"/>
                    </a:lnTo>
                    <a:lnTo>
                      <a:pt x="19694" y="8228"/>
                    </a:lnTo>
                    <a:lnTo>
                      <a:pt x="18423" y="7200"/>
                    </a:lnTo>
                    <a:lnTo>
                      <a:pt x="12705" y="1028"/>
                    </a:lnTo>
                    <a:lnTo>
                      <a:pt x="11435" y="1028"/>
                    </a:lnTo>
                    <a:lnTo>
                      <a:pt x="10164" y="0"/>
                    </a:lnTo>
                    <a:lnTo>
                      <a:pt x="8894" y="0"/>
                    </a:lnTo>
                    <a:lnTo>
                      <a:pt x="7623" y="1028"/>
                    </a:lnTo>
                    <a:lnTo>
                      <a:pt x="5717" y="3085"/>
                    </a:lnTo>
                    <a:lnTo>
                      <a:pt x="3811" y="617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6" name="AutoShape 20"/>
              <p:cNvSpPr>
                <a:spLocks/>
              </p:cNvSpPr>
              <p:nvPr/>
            </p:nvSpPr>
            <p:spPr bwMode="auto">
              <a:xfrm>
                <a:off x="882650" y="104717"/>
                <a:ext cx="65088" cy="3649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468" y="0"/>
                    </a:moveTo>
                    <a:lnTo>
                      <a:pt x="1489" y="5082"/>
                    </a:lnTo>
                    <a:lnTo>
                      <a:pt x="0" y="10164"/>
                    </a:lnTo>
                    <a:lnTo>
                      <a:pt x="0" y="16517"/>
                    </a:lnTo>
                    <a:lnTo>
                      <a:pt x="2234" y="21600"/>
                    </a:lnTo>
                    <a:lnTo>
                      <a:pt x="8937" y="21600"/>
                    </a:lnTo>
                    <a:lnTo>
                      <a:pt x="11917" y="20329"/>
                    </a:lnTo>
                    <a:lnTo>
                      <a:pt x="12662" y="19058"/>
                    </a:lnTo>
                    <a:lnTo>
                      <a:pt x="14151" y="17788"/>
                    </a:lnTo>
                    <a:lnTo>
                      <a:pt x="17875" y="11435"/>
                    </a:lnTo>
                    <a:lnTo>
                      <a:pt x="20110" y="11435"/>
                    </a:lnTo>
                    <a:lnTo>
                      <a:pt x="21599" y="8894"/>
                    </a:lnTo>
                    <a:lnTo>
                      <a:pt x="21599" y="7623"/>
                    </a:lnTo>
                    <a:lnTo>
                      <a:pt x="20855" y="5082"/>
                    </a:lnTo>
                    <a:lnTo>
                      <a:pt x="20110" y="3811"/>
                    </a:lnTo>
                    <a:lnTo>
                      <a:pt x="17875" y="2541"/>
                    </a:lnTo>
                    <a:lnTo>
                      <a:pt x="11917" y="1270"/>
                    </a:lnTo>
                    <a:lnTo>
                      <a:pt x="6703" y="0"/>
                    </a:lnTo>
                    <a:lnTo>
                      <a:pt x="4468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7" name="AutoShape 21"/>
              <p:cNvSpPr>
                <a:spLocks/>
              </p:cNvSpPr>
              <p:nvPr/>
            </p:nvSpPr>
            <p:spPr bwMode="auto">
              <a:xfrm>
                <a:off x="798513" y="215781"/>
                <a:ext cx="22225" cy="2855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7279" y="0"/>
                    </a:moveTo>
                    <a:lnTo>
                      <a:pt x="15120" y="0"/>
                    </a:lnTo>
                    <a:lnTo>
                      <a:pt x="12959" y="1542"/>
                    </a:lnTo>
                    <a:lnTo>
                      <a:pt x="10800" y="4628"/>
                    </a:lnTo>
                    <a:lnTo>
                      <a:pt x="2159" y="10800"/>
                    </a:lnTo>
                    <a:lnTo>
                      <a:pt x="0" y="13885"/>
                    </a:lnTo>
                    <a:lnTo>
                      <a:pt x="0" y="18514"/>
                    </a:lnTo>
                    <a:lnTo>
                      <a:pt x="2159" y="21600"/>
                    </a:lnTo>
                    <a:lnTo>
                      <a:pt x="10800" y="21600"/>
                    </a:lnTo>
                    <a:lnTo>
                      <a:pt x="15120" y="20057"/>
                    </a:lnTo>
                    <a:lnTo>
                      <a:pt x="17279" y="16971"/>
                    </a:lnTo>
                    <a:lnTo>
                      <a:pt x="19440" y="12342"/>
                    </a:lnTo>
                    <a:lnTo>
                      <a:pt x="21600" y="10800"/>
                    </a:lnTo>
                    <a:lnTo>
                      <a:pt x="21600" y="1542"/>
                    </a:lnTo>
                    <a:lnTo>
                      <a:pt x="19440" y="0"/>
                    </a:lnTo>
                    <a:lnTo>
                      <a:pt x="1727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8" name="AutoShape 22"/>
              <p:cNvSpPr>
                <a:spLocks/>
              </p:cNvSpPr>
              <p:nvPr/>
            </p:nvSpPr>
            <p:spPr bwMode="auto">
              <a:xfrm>
                <a:off x="796925" y="236407"/>
                <a:ext cx="127000" cy="9361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5684" y="4800"/>
                    </a:moveTo>
                    <a:lnTo>
                      <a:pt x="5305" y="4800"/>
                    </a:lnTo>
                    <a:lnTo>
                      <a:pt x="4926" y="4320"/>
                    </a:lnTo>
                    <a:lnTo>
                      <a:pt x="3031" y="4320"/>
                    </a:lnTo>
                    <a:lnTo>
                      <a:pt x="2273" y="5280"/>
                    </a:lnTo>
                    <a:lnTo>
                      <a:pt x="1894" y="6720"/>
                    </a:lnTo>
                    <a:lnTo>
                      <a:pt x="1894" y="8160"/>
                    </a:lnTo>
                    <a:lnTo>
                      <a:pt x="1515" y="8160"/>
                    </a:lnTo>
                    <a:lnTo>
                      <a:pt x="1515" y="11040"/>
                    </a:lnTo>
                    <a:lnTo>
                      <a:pt x="0" y="12959"/>
                    </a:lnTo>
                    <a:lnTo>
                      <a:pt x="0" y="14399"/>
                    </a:lnTo>
                    <a:lnTo>
                      <a:pt x="757" y="14879"/>
                    </a:lnTo>
                    <a:lnTo>
                      <a:pt x="1515" y="15840"/>
                    </a:lnTo>
                    <a:lnTo>
                      <a:pt x="1515" y="16320"/>
                    </a:lnTo>
                    <a:lnTo>
                      <a:pt x="2273" y="17280"/>
                    </a:lnTo>
                    <a:lnTo>
                      <a:pt x="4547" y="17280"/>
                    </a:lnTo>
                    <a:lnTo>
                      <a:pt x="4926" y="16800"/>
                    </a:lnTo>
                    <a:lnTo>
                      <a:pt x="5684" y="16320"/>
                    </a:lnTo>
                    <a:lnTo>
                      <a:pt x="5684" y="15360"/>
                    </a:lnTo>
                    <a:lnTo>
                      <a:pt x="6063" y="14399"/>
                    </a:lnTo>
                    <a:lnTo>
                      <a:pt x="6063" y="15360"/>
                    </a:lnTo>
                    <a:lnTo>
                      <a:pt x="6821" y="16320"/>
                    </a:lnTo>
                    <a:lnTo>
                      <a:pt x="8715" y="16320"/>
                    </a:lnTo>
                    <a:lnTo>
                      <a:pt x="9094" y="15840"/>
                    </a:lnTo>
                    <a:lnTo>
                      <a:pt x="9473" y="15840"/>
                    </a:lnTo>
                    <a:lnTo>
                      <a:pt x="9852" y="15360"/>
                    </a:lnTo>
                    <a:lnTo>
                      <a:pt x="10989" y="15360"/>
                    </a:lnTo>
                    <a:lnTo>
                      <a:pt x="11368" y="15840"/>
                    </a:lnTo>
                    <a:lnTo>
                      <a:pt x="10989" y="16320"/>
                    </a:lnTo>
                    <a:lnTo>
                      <a:pt x="10610" y="17280"/>
                    </a:lnTo>
                    <a:lnTo>
                      <a:pt x="10231" y="17280"/>
                    </a:lnTo>
                    <a:lnTo>
                      <a:pt x="9852" y="17760"/>
                    </a:lnTo>
                    <a:lnTo>
                      <a:pt x="7578" y="18720"/>
                    </a:lnTo>
                    <a:lnTo>
                      <a:pt x="6442" y="19679"/>
                    </a:lnTo>
                    <a:lnTo>
                      <a:pt x="4926" y="20639"/>
                    </a:lnTo>
                    <a:lnTo>
                      <a:pt x="4926" y="21119"/>
                    </a:lnTo>
                    <a:lnTo>
                      <a:pt x="6063" y="21119"/>
                    </a:lnTo>
                    <a:lnTo>
                      <a:pt x="7199" y="21599"/>
                    </a:lnTo>
                    <a:lnTo>
                      <a:pt x="9852" y="21119"/>
                    </a:lnTo>
                    <a:lnTo>
                      <a:pt x="12126" y="19200"/>
                    </a:lnTo>
                    <a:lnTo>
                      <a:pt x="14021" y="18240"/>
                    </a:lnTo>
                    <a:lnTo>
                      <a:pt x="14021" y="17760"/>
                    </a:lnTo>
                    <a:lnTo>
                      <a:pt x="14778" y="16800"/>
                    </a:lnTo>
                    <a:lnTo>
                      <a:pt x="15157" y="16800"/>
                    </a:lnTo>
                    <a:lnTo>
                      <a:pt x="15915" y="17760"/>
                    </a:lnTo>
                    <a:lnTo>
                      <a:pt x="17052" y="17760"/>
                    </a:lnTo>
                    <a:lnTo>
                      <a:pt x="17431" y="16800"/>
                    </a:lnTo>
                    <a:lnTo>
                      <a:pt x="17431" y="17280"/>
                    </a:lnTo>
                    <a:lnTo>
                      <a:pt x="19705" y="17280"/>
                    </a:lnTo>
                    <a:lnTo>
                      <a:pt x="20463" y="16320"/>
                    </a:lnTo>
                    <a:lnTo>
                      <a:pt x="20842" y="15360"/>
                    </a:lnTo>
                    <a:lnTo>
                      <a:pt x="21221" y="13439"/>
                    </a:lnTo>
                    <a:lnTo>
                      <a:pt x="21599" y="11040"/>
                    </a:lnTo>
                    <a:lnTo>
                      <a:pt x="21599" y="9120"/>
                    </a:lnTo>
                    <a:lnTo>
                      <a:pt x="20463" y="8160"/>
                    </a:lnTo>
                    <a:lnTo>
                      <a:pt x="20084" y="8160"/>
                    </a:lnTo>
                    <a:lnTo>
                      <a:pt x="19705" y="8640"/>
                    </a:lnTo>
                    <a:lnTo>
                      <a:pt x="18947" y="9120"/>
                    </a:lnTo>
                    <a:lnTo>
                      <a:pt x="17810" y="9120"/>
                    </a:lnTo>
                    <a:lnTo>
                      <a:pt x="17431" y="8640"/>
                    </a:lnTo>
                    <a:lnTo>
                      <a:pt x="17052" y="7680"/>
                    </a:lnTo>
                    <a:lnTo>
                      <a:pt x="17052" y="7200"/>
                    </a:lnTo>
                    <a:lnTo>
                      <a:pt x="16673" y="6720"/>
                    </a:lnTo>
                    <a:lnTo>
                      <a:pt x="16294" y="5760"/>
                    </a:lnTo>
                    <a:lnTo>
                      <a:pt x="15915" y="3840"/>
                    </a:lnTo>
                    <a:lnTo>
                      <a:pt x="15915" y="3360"/>
                    </a:lnTo>
                    <a:lnTo>
                      <a:pt x="15536" y="2400"/>
                    </a:lnTo>
                    <a:lnTo>
                      <a:pt x="15536" y="0"/>
                    </a:lnTo>
                    <a:lnTo>
                      <a:pt x="15157" y="0"/>
                    </a:lnTo>
                    <a:lnTo>
                      <a:pt x="12884" y="1440"/>
                    </a:lnTo>
                    <a:lnTo>
                      <a:pt x="12126" y="3360"/>
                    </a:lnTo>
                    <a:lnTo>
                      <a:pt x="12505" y="4800"/>
                    </a:lnTo>
                    <a:lnTo>
                      <a:pt x="12126" y="5280"/>
                    </a:lnTo>
                    <a:lnTo>
                      <a:pt x="12126" y="5760"/>
                    </a:lnTo>
                    <a:lnTo>
                      <a:pt x="12505" y="6720"/>
                    </a:lnTo>
                    <a:lnTo>
                      <a:pt x="13263" y="7200"/>
                    </a:lnTo>
                    <a:lnTo>
                      <a:pt x="12884" y="7680"/>
                    </a:lnTo>
                    <a:lnTo>
                      <a:pt x="12505" y="8640"/>
                    </a:lnTo>
                    <a:lnTo>
                      <a:pt x="12126" y="9120"/>
                    </a:lnTo>
                    <a:lnTo>
                      <a:pt x="11368" y="11040"/>
                    </a:lnTo>
                    <a:lnTo>
                      <a:pt x="10989" y="11520"/>
                    </a:lnTo>
                    <a:lnTo>
                      <a:pt x="10610" y="11520"/>
                    </a:lnTo>
                    <a:lnTo>
                      <a:pt x="10610" y="11040"/>
                    </a:lnTo>
                    <a:lnTo>
                      <a:pt x="10231" y="10559"/>
                    </a:lnTo>
                    <a:lnTo>
                      <a:pt x="10231" y="8160"/>
                    </a:lnTo>
                    <a:lnTo>
                      <a:pt x="9473" y="6239"/>
                    </a:lnTo>
                    <a:lnTo>
                      <a:pt x="8715" y="5760"/>
                    </a:lnTo>
                    <a:lnTo>
                      <a:pt x="8336" y="5760"/>
                    </a:lnTo>
                    <a:lnTo>
                      <a:pt x="7578" y="6239"/>
                    </a:lnTo>
                    <a:lnTo>
                      <a:pt x="7199" y="6239"/>
                    </a:lnTo>
                    <a:lnTo>
                      <a:pt x="6821" y="6720"/>
                    </a:lnTo>
                    <a:lnTo>
                      <a:pt x="6442" y="6720"/>
                    </a:lnTo>
                    <a:lnTo>
                      <a:pt x="6063" y="6239"/>
                    </a:lnTo>
                    <a:lnTo>
                      <a:pt x="5684" y="48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89" name="AutoShape 23"/>
              <p:cNvSpPr>
                <a:spLocks/>
              </p:cNvSpPr>
              <p:nvPr/>
            </p:nvSpPr>
            <p:spPr bwMode="auto">
              <a:xfrm>
                <a:off x="998538" y="99957"/>
                <a:ext cx="22225" cy="5077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3600"/>
                    </a:moveTo>
                    <a:lnTo>
                      <a:pt x="8639" y="2700"/>
                    </a:lnTo>
                    <a:lnTo>
                      <a:pt x="8639" y="1800"/>
                    </a:lnTo>
                    <a:lnTo>
                      <a:pt x="6479" y="900"/>
                    </a:lnTo>
                    <a:lnTo>
                      <a:pt x="6479" y="0"/>
                    </a:lnTo>
                    <a:lnTo>
                      <a:pt x="4319" y="0"/>
                    </a:lnTo>
                    <a:lnTo>
                      <a:pt x="2159" y="900"/>
                    </a:lnTo>
                    <a:lnTo>
                      <a:pt x="2159" y="5400"/>
                    </a:lnTo>
                    <a:lnTo>
                      <a:pt x="0" y="9899"/>
                    </a:lnTo>
                    <a:lnTo>
                      <a:pt x="2159" y="11700"/>
                    </a:lnTo>
                    <a:lnTo>
                      <a:pt x="2159" y="15300"/>
                    </a:lnTo>
                    <a:lnTo>
                      <a:pt x="4319" y="17099"/>
                    </a:lnTo>
                    <a:lnTo>
                      <a:pt x="12959" y="20699"/>
                    </a:lnTo>
                    <a:lnTo>
                      <a:pt x="19440" y="21599"/>
                    </a:lnTo>
                    <a:lnTo>
                      <a:pt x="19440" y="20699"/>
                    </a:lnTo>
                    <a:lnTo>
                      <a:pt x="21600" y="20699"/>
                    </a:lnTo>
                    <a:lnTo>
                      <a:pt x="21600" y="17099"/>
                    </a:lnTo>
                    <a:lnTo>
                      <a:pt x="10800" y="3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0" name="AutoShape 24"/>
              <p:cNvSpPr>
                <a:spLocks/>
              </p:cNvSpPr>
              <p:nvPr/>
            </p:nvSpPr>
            <p:spPr bwMode="auto">
              <a:xfrm>
                <a:off x="942975" y="171356"/>
                <a:ext cx="82550" cy="9519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670" y="2400"/>
                    </a:moveTo>
                    <a:lnTo>
                      <a:pt x="4086" y="2400"/>
                    </a:lnTo>
                    <a:lnTo>
                      <a:pt x="2918" y="1440"/>
                    </a:lnTo>
                    <a:lnTo>
                      <a:pt x="583" y="1440"/>
                    </a:lnTo>
                    <a:lnTo>
                      <a:pt x="583" y="1920"/>
                    </a:lnTo>
                    <a:lnTo>
                      <a:pt x="0" y="2400"/>
                    </a:lnTo>
                    <a:lnTo>
                      <a:pt x="0" y="3360"/>
                    </a:lnTo>
                    <a:lnTo>
                      <a:pt x="583" y="5280"/>
                    </a:lnTo>
                    <a:lnTo>
                      <a:pt x="1167" y="5760"/>
                    </a:lnTo>
                    <a:lnTo>
                      <a:pt x="1751" y="6720"/>
                    </a:lnTo>
                    <a:lnTo>
                      <a:pt x="2335" y="8160"/>
                    </a:lnTo>
                    <a:lnTo>
                      <a:pt x="3502" y="9120"/>
                    </a:lnTo>
                    <a:lnTo>
                      <a:pt x="4670" y="11999"/>
                    </a:lnTo>
                    <a:lnTo>
                      <a:pt x="8172" y="11999"/>
                    </a:lnTo>
                    <a:lnTo>
                      <a:pt x="9340" y="12479"/>
                    </a:lnTo>
                    <a:lnTo>
                      <a:pt x="9924" y="12959"/>
                    </a:lnTo>
                    <a:lnTo>
                      <a:pt x="10508" y="13919"/>
                    </a:lnTo>
                    <a:lnTo>
                      <a:pt x="11091" y="15360"/>
                    </a:lnTo>
                    <a:lnTo>
                      <a:pt x="11091" y="16800"/>
                    </a:lnTo>
                    <a:lnTo>
                      <a:pt x="12259" y="19679"/>
                    </a:lnTo>
                    <a:lnTo>
                      <a:pt x="14010" y="20639"/>
                    </a:lnTo>
                    <a:lnTo>
                      <a:pt x="15178" y="21119"/>
                    </a:lnTo>
                    <a:lnTo>
                      <a:pt x="16929" y="21599"/>
                    </a:lnTo>
                    <a:lnTo>
                      <a:pt x="18681" y="21599"/>
                    </a:lnTo>
                    <a:lnTo>
                      <a:pt x="19848" y="20639"/>
                    </a:lnTo>
                    <a:lnTo>
                      <a:pt x="21016" y="20159"/>
                    </a:lnTo>
                    <a:lnTo>
                      <a:pt x="21599" y="20159"/>
                    </a:lnTo>
                    <a:lnTo>
                      <a:pt x="21599" y="19679"/>
                    </a:lnTo>
                    <a:lnTo>
                      <a:pt x="21016" y="20159"/>
                    </a:lnTo>
                    <a:lnTo>
                      <a:pt x="20432" y="20159"/>
                    </a:lnTo>
                    <a:lnTo>
                      <a:pt x="19848" y="20639"/>
                    </a:lnTo>
                    <a:lnTo>
                      <a:pt x="18681" y="20639"/>
                    </a:lnTo>
                    <a:lnTo>
                      <a:pt x="18681" y="17280"/>
                    </a:lnTo>
                    <a:lnTo>
                      <a:pt x="18097" y="13919"/>
                    </a:lnTo>
                    <a:lnTo>
                      <a:pt x="16345" y="10559"/>
                    </a:lnTo>
                    <a:lnTo>
                      <a:pt x="16929" y="10079"/>
                    </a:lnTo>
                    <a:lnTo>
                      <a:pt x="19264" y="6239"/>
                    </a:lnTo>
                    <a:lnTo>
                      <a:pt x="19848" y="3840"/>
                    </a:lnTo>
                    <a:lnTo>
                      <a:pt x="19264" y="1920"/>
                    </a:lnTo>
                    <a:lnTo>
                      <a:pt x="17513" y="960"/>
                    </a:lnTo>
                    <a:lnTo>
                      <a:pt x="16345" y="480"/>
                    </a:lnTo>
                    <a:lnTo>
                      <a:pt x="15762" y="480"/>
                    </a:lnTo>
                    <a:lnTo>
                      <a:pt x="14594" y="0"/>
                    </a:lnTo>
                    <a:lnTo>
                      <a:pt x="11091" y="0"/>
                    </a:lnTo>
                    <a:lnTo>
                      <a:pt x="10508" y="480"/>
                    </a:lnTo>
                    <a:lnTo>
                      <a:pt x="10508" y="1440"/>
                    </a:lnTo>
                    <a:lnTo>
                      <a:pt x="11091" y="3360"/>
                    </a:lnTo>
                    <a:lnTo>
                      <a:pt x="11675" y="5760"/>
                    </a:lnTo>
                    <a:lnTo>
                      <a:pt x="12843" y="7680"/>
                    </a:lnTo>
                    <a:lnTo>
                      <a:pt x="12843" y="9120"/>
                    </a:lnTo>
                    <a:lnTo>
                      <a:pt x="11091" y="9120"/>
                    </a:lnTo>
                    <a:lnTo>
                      <a:pt x="9340" y="7680"/>
                    </a:lnTo>
                    <a:lnTo>
                      <a:pt x="5837" y="5760"/>
                    </a:lnTo>
                    <a:lnTo>
                      <a:pt x="4670" y="4320"/>
                    </a:lnTo>
                    <a:lnTo>
                      <a:pt x="4670" y="24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1" name="AutoShape 25"/>
              <p:cNvSpPr>
                <a:spLocks/>
              </p:cNvSpPr>
              <p:nvPr/>
            </p:nvSpPr>
            <p:spPr bwMode="auto">
              <a:xfrm>
                <a:off x="1028701" y="231648"/>
                <a:ext cx="49213" cy="4918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909" y="939"/>
                    </a:moveTo>
                    <a:lnTo>
                      <a:pt x="3927" y="0"/>
                    </a:lnTo>
                    <a:lnTo>
                      <a:pt x="1963" y="0"/>
                    </a:lnTo>
                    <a:lnTo>
                      <a:pt x="981" y="939"/>
                    </a:lnTo>
                    <a:lnTo>
                      <a:pt x="981" y="1878"/>
                    </a:lnTo>
                    <a:lnTo>
                      <a:pt x="2945" y="5634"/>
                    </a:lnTo>
                    <a:lnTo>
                      <a:pt x="2945" y="6573"/>
                    </a:lnTo>
                    <a:lnTo>
                      <a:pt x="1963" y="8452"/>
                    </a:lnTo>
                    <a:lnTo>
                      <a:pt x="1963" y="13147"/>
                    </a:lnTo>
                    <a:lnTo>
                      <a:pt x="981" y="15965"/>
                    </a:lnTo>
                    <a:lnTo>
                      <a:pt x="0" y="17843"/>
                    </a:lnTo>
                    <a:lnTo>
                      <a:pt x="7854" y="15965"/>
                    </a:lnTo>
                    <a:lnTo>
                      <a:pt x="11781" y="21599"/>
                    </a:lnTo>
                    <a:lnTo>
                      <a:pt x="11781" y="20660"/>
                    </a:lnTo>
                    <a:lnTo>
                      <a:pt x="13745" y="20660"/>
                    </a:lnTo>
                    <a:lnTo>
                      <a:pt x="17672" y="18782"/>
                    </a:lnTo>
                    <a:lnTo>
                      <a:pt x="19636" y="16904"/>
                    </a:lnTo>
                    <a:lnTo>
                      <a:pt x="20618" y="15026"/>
                    </a:lnTo>
                    <a:lnTo>
                      <a:pt x="20618" y="13147"/>
                    </a:lnTo>
                    <a:lnTo>
                      <a:pt x="21599" y="11269"/>
                    </a:lnTo>
                    <a:lnTo>
                      <a:pt x="19636" y="5634"/>
                    </a:lnTo>
                    <a:lnTo>
                      <a:pt x="18654" y="5634"/>
                    </a:lnTo>
                    <a:lnTo>
                      <a:pt x="17672" y="4695"/>
                    </a:lnTo>
                    <a:lnTo>
                      <a:pt x="16690" y="2817"/>
                    </a:lnTo>
                    <a:lnTo>
                      <a:pt x="14727" y="1878"/>
                    </a:lnTo>
                    <a:lnTo>
                      <a:pt x="12763" y="0"/>
                    </a:lnTo>
                    <a:lnTo>
                      <a:pt x="7854" y="0"/>
                    </a:lnTo>
                    <a:lnTo>
                      <a:pt x="4909" y="93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2" name="AutoShape 26"/>
              <p:cNvSpPr>
                <a:spLocks/>
              </p:cNvSpPr>
              <p:nvPr/>
            </p:nvSpPr>
            <p:spPr bwMode="auto">
              <a:xfrm>
                <a:off x="1084264" y="214194"/>
                <a:ext cx="190500" cy="1015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42" y="440"/>
                    </a:moveTo>
                    <a:lnTo>
                      <a:pt x="1285" y="440"/>
                    </a:lnTo>
                    <a:lnTo>
                      <a:pt x="1028" y="0"/>
                    </a:lnTo>
                    <a:lnTo>
                      <a:pt x="257" y="0"/>
                    </a:lnTo>
                    <a:lnTo>
                      <a:pt x="0" y="440"/>
                    </a:lnTo>
                    <a:lnTo>
                      <a:pt x="0" y="2204"/>
                    </a:lnTo>
                    <a:lnTo>
                      <a:pt x="257" y="3526"/>
                    </a:lnTo>
                    <a:lnTo>
                      <a:pt x="514" y="5289"/>
                    </a:lnTo>
                    <a:lnTo>
                      <a:pt x="514" y="5730"/>
                    </a:lnTo>
                    <a:lnTo>
                      <a:pt x="771" y="6171"/>
                    </a:lnTo>
                    <a:lnTo>
                      <a:pt x="771" y="6612"/>
                    </a:lnTo>
                    <a:lnTo>
                      <a:pt x="1028" y="7053"/>
                    </a:lnTo>
                    <a:lnTo>
                      <a:pt x="2057" y="7053"/>
                    </a:lnTo>
                    <a:lnTo>
                      <a:pt x="2571" y="6612"/>
                    </a:lnTo>
                    <a:lnTo>
                      <a:pt x="3342" y="5730"/>
                    </a:lnTo>
                    <a:lnTo>
                      <a:pt x="3599" y="5730"/>
                    </a:lnTo>
                    <a:lnTo>
                      <a:pt x="3599" y="5289"/>
                    </a:lnTo>
                    <a:lnTo>
                      <a:pt x="4371" y="5289"/>
                    </a:lnTo>
                    <a:lnTo>
                      <a:pt x="4628" y="6171"/>
                    </a:lnTo>
                    <a:lnTo>
                      <a:pt x="4628" y="7053"/>
                    </a:lnTo>
                    <a:lnTo>
                      <a:pt x="4885" y="8375"/>
                    </a:lnTo>
                    <a:lnTo>
                      <a:pt x="4885" y="10579"/>
                    </a:lnTo>
                    <a:lnTo>
                      <a:pt x="5657" y="15869"/>
                    </a:lnTo>
                    <a:lnTo>
                      <a:pt x="5142" y="15869"/>
                    </a:lnTo>
                    <a:lnTo>
                      <a:pt x="4885" y="16310"/>
                    </a:lnTo>
                    <a:lnTo>
                      <a:pt x="4885" y="17632"/>
                    </a:lnTo>
                    <a:lnTo>
                      <a:pt x="5142" y="18514"/>
                    </a:lnTo>
                    <a:lnTo>
                      <a:pt x="5657" y="19395"/>
                    </a:lnTo>
                    <a:lnTo>
                      <a:pt x="6942" y="19395"/>
                    </a:lnTo>
                    <a:lnTo>
                      <a:pt x="7457" y="18514"/>
                    </a:lnTo>
                    <a:lnTo>
                      <a:pt x="8228" y="18514"/>
                    </a:lnTo>
                    <a:lnTo>
                      <a:pt x="8742" y="18955"/>
                    </a:lnTo>
                    <a:lnTo>
                      <a:pt x="9514" y="20277"/>
                    </a:lnTo>
                    <a:lnTo>
                      <a:pt x="10542" y="20718"/>
                    </a:lnTo>
                    <a:lnTo>
                      <a:pt x="12085" y="21599"/>
                    </a:lnTo>
                    <a:lnTo>
                      <a:pt x="13628" y="21159"/>
                    </a:lnTo>
                    <a:lnTo>
                      <a:pt x="15171" y="21159"/>
                    </a:lnTo>
                    <a:lnTo>
                      <a:pt x="15171" y="20277"/>
                    </a:lnTo>
                    <a:lnTo>
                      <a:pt x="15428" y="19836"/>
                    </a:lnTo>
                    <a:lnTo>
                      <a:pt x="15428" y="19395"/>
                    </a:lnTo>
                    <a:lnTo>
                      <a:pt x="15685" y="18955"/>
                    </a:lnTo>
                    <a:lnTo>
                      <a:pt x="16457" y="18955"/>
                    </a:lnTo>
                    <a:lnTo>
                      <a:pt x="17228" y="19395"/>
                    </a:lnTo>
                    <a:lnTo>
                      <a:pt x="17999" y="20277"/>
                    </a:lnTo>
                    <a:lnTo>
                      <a:pt x="19028" y="20277"/>
                    </a:lnTo>
                    <a:lnTo>
                      <a:pt x="19799" y="18955"/>
                    </a:lnTo>
                    <a:lnTo>
                      <a:pt x="19799" y="16751"/>
                    </a:lnTo>
                    <a:lnTo>
                      <a:pt x="20057" y="16751"/>
                    </a:lnTo>
                    <a:lnTo>
                      <a:pt x="20314" y="16310"/>
                    </a:lnTo>
                    <a:lnTo>
                      <a:pt x="20828" y="16310"/>
                    </a:lnTo>
                    <a:lnTo>
                      <a:pt x="21085" y="15869"/>
                    </a:lnTo>
                    <a:lnTo>
                      <a:pt x="21085" y="14546"/>
                    </a:lnTo>
                    <a:lnTo>
                      <a:pt x="21600" y="13665"/>
                    </a:lnTo>
                    <a:lnTo>
                      <a:pt x="21600" y="12783"/>
                    </a:lnTo>
                    <a:lnTo>
                      <a:pt x="21342" y="12342"/>
                    </a:lnTo>
                    <a:lnTo>
                      <a:pt x="20314" y="11461"/>
                    </a:lnTo>
                    <a:lnTo>
                      <a:pt x="18257" y="10579"/>
                    </a:lnTo>
                    <a:lnTo>
                      <a:pt x="17742" y="10579"/>
                    </a:lnTo>
                    <a:lnTo>
                      <a:pt x="16714" y="9697"/>
                    </a:lnTo>
                    <a:lnTo>
                      <a:pt x="14142" y="9697"/>
                    </a:lnTo>
                    <a:lnTo>
                      <a:pt x="14142" y="10138"/>
                    </a:lnTo>
                    <a:lnTo>
                      <a:pt x="13885" y="10138"/>
                    </a:lnTo>
                    <a:lnTo>
                      <a:pt x="13628" y="10579"/>
                    </a:lnTo>
                    <a:lnTo>
                      <a:pt x="12857" y="11020"/>
                    </a:lnTo>
                    <a:lnTo>
                      <a:pt x="12342" y="11020"/>
                    </a:lnTo>
                    <a:lnTo>
                      <a:pt x="11571" y="10579"/>
                    </a:lnTo>
                    <a:lnTo>
                      <a:pt x="10542" y="9697"/>
                    </a:lnTo>
                    <a:lnTo>
                      <a:pt x="7971" y="7053"/>
                    </a:lnTo>
                    <a:lnTo>
                      <a:pt x="7714" y="6612"/>
                    </a:lnTo>
                    <a:lnTo>
                      <a:pt x="7457" y="5730"/>
                    </a:lnTo>
                    <a:lnTo>
                      <a:pt x="7199" y="5289"/>
                    </a:lnTo>
                    <a:lnTo>
                      <a:pt x="6685" y="5289"/>
                    </a:lnTo>
                    <a:lnTo>
                      <a:pt x="6685" y="4848"/>
                    </a:lnTo>
                    <a:lnTo>
                      <a:pt x="6428" y="4848"/>
                    </a:lnTo>
                    <a:lnTo>
                      <a:pt x="6428" y="2204"/>
                    </a:lnTo>
                    <a:lnTo>
                      <a:pt x="6171" y="2204"/>
                    </a:lnTo>
                    <a:lnTo>
                      <a:pt x="5914" y="1763"/>
                    </a:lnTo>
                    <a:lnTo>
                      <a:pt x="5399" y="1763"/>
                    </a:lnTo>
                    <a:lnTo>
                      <a:pt x="4628" y="3085"/>
                    </a:lnTo>
                    <a:lnTo>
                      <a:pt x="3857" y="3085"/>
                    </a:lnTo>
                    <a:lnTo>
                      <a:pt x="3599" y="2644"/>
                    </a:lnTo>
                    <a:lnTo>
                      <a:pt x="3599" y="1322"/>
                    </a:lnTo>
                    <a:lnTo>
                      <a:pt x="3085" y="881"/>
                    </a:lnTo>
                    <a:lnTo>
                      <a:pt x="2828" y="440"/>
                    </a:lnTo>
                    <a:lnTo>
                      <a:pt x="1542" y="440"/>
                    </a:lnTo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3" name="AutoShape 27"/>
              <p:cNvSpPr>
                <a:spLocks/>
              </p:cNvSpPr>
              <p:nvPr/>
            </p:nvSpPr>
            <p:spPr bwMode="auto">
              <a:xfrm>
                <a:off x="982663" y="0"/>
                <a:ext cx="100012" cy="10630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7363" y="9741"/>
                    </a:moveTo>
                    <a:lnTo>
                      <a:pt x="7363" y="9317"/>
                    </a:lnTo>
                    <a:lnTo>
                      <a:pt x="6872" y="8894"/>
                    </a:lnTo>
                    <a:lnTo>
                      <a:pt x="5890" y="7199"/>
                    </a:lnTo>
                    <a:lnTo>
                      <a:pt x="4909" y="6776"/>
                    </a:lnTo>
                    <a:lnTo>
                      <a:pt x="3436" y="6352"/>
                    </a:lnTo>
                    <a:lnTo>
                      <a:pt x="3436" y="5929"/>
                    </a:lnTo>
                    <a:lnTo>
                      <a:pt x="2945" y="5505"/>
                    </a:lnTo>
                    <a:lnTo>
                      <a:pt x="1963" y="5082"/>
                    </a:lnTo>
                    <a:lnTo>
                      <a:pt x="1472" y="4235"/>
                    </a:lnTo>
                    <a:lnTo>
                      <a:pt x="490" y="3388"/>
                    </a:lnTo>
                    <a:lnTo>
                      <a:pt x="490" y="2541"/>
                    </a:lnTo>
                    <a:lnTo>
                      <a:pt x="0" y="1694"/>
                    </a:lnTo>
                    <a:lnTo>
                      <a:pt x="1963" y="0"/>
                    </a:lnTo>
                    <a:lnTo>
                      <a:pt x="3927" y="0"/>
                    </a:lnTo>
                    <a:lnTo>
                      <a:pt x="6872" y="1270"/>
                    </a:lnTo>
                    <a:lnTo>
                      <a:pt x="7363" y="2117"/>
                    </a:lnTo>
                    <a:lnTo>
                      <a:pt x="7854" y="3388"/>
                    </a:lnTo>
                    <a:lnTo>
                      <a:pt x="7854" y="4235"/>
                    </a:lnTo>
                    <a:lnTo>
                      <a:pt x="8836" y="5082"/>
                    </a:lnTo>
                    <a:lnTo>
                      <a:pt x="9818" y="5505"/>
                    </a:lnTo>
                    <a:lnTo>
                      <a:pt x="10800" y="5505"/>
                    </a:lnTo>
                    <a:lnTo>
                      <a:pt x="10800" y="2964"/>
                    </a:lnTo>
                    <a:lnTo>
                      <a:pt x="11781" y="2117"/>
                    </a:lnTo>
                    <a:lnTo>
                      <a:pt x="12272" y="2117"/>
                    </a:lnTo>
                    <a:lnTo>
                      <a:pt x="13254" y="2541"/>
                    </a:lnTo>
                    <a:lnTo>
                      <a:pt x="14727" y="2964"/>
                    </a:lnTo>
                    <a:lnTo>
                      <a:pt x="14727" y="3388"/>
                    </a:lnTo>
                    <a:lnTo>
                      <a:pt x="14236" y="4235"/>
                    </a:lnTo>
                    <a:lnTo>
                      <a:pt x="14236" y="6352"/>
                    </a:lnTo>
                    <a:lnTo>
                      <a:pt x="14727" y="7199"/>
                    </a:lnTo>
                    <a:lnTo>
                      <a:pt x="14727" y="8470"/>
                    </a:lnTo>
                    <a:lnTo>
                      <a:pt x="16199" y="9741"/>
                    </a:lnTo>
                    <a:lnTo>
                      <a:pt x="16690" y="9741"/>
                    </a:lnTo>
                    <a:lnTo>
                      <a:pt x="17672" y="8894"/>
                    </a:lnTo>
                    <a:lnTo>
                      <a:pt x="18654" y="7199"/>
                    </a:lnTo>
                    <a:lnTo>
                      <a:pt x="18654" y="6776"/>
                    </a:lnTo>
                    <a:lnTo>
                      <a:pt x="20127" y="5505"/>
                    </a:lnTo>
                    <a:lnTo>
                      <a:pt x="20618" y="5505"/>
                    </a:lnTo>
                    <a:lnTo>
                      <a:pt x="21109" y="5929"/>
                    </a:lnTo>
                    <a:lnTo>
                      <a:pt x="21109" y="6776"/>
                    </a:lnTo>
                    <a:lnTo>
                      <a:pt x="21599" y="8047"/>
                    </a:lnTo>
                    <a:lnTo>
                      <a:pt x="21599" y="9741"/>
                    </a:lnTo>
                    <a:lnTo>
                      <a:pt x="21109" y="10164"/>
                    </a:lnTo>
                    <a:lnTo>
                      <a:pt x="20127" y="14400"/>
                    </a:lnTo>
                    <a:lnTo>
                      <a:pt x="20618" y="16941"/>
                    </a:lnTo>
                    <a:lnTo>
                      <a:pt x="21599" y="19058"/>
                    </a:lnTo>
                    <a:lnTo>
                      <a:pt x="21599" y="19482"/>
                    </a:lnTo>
                    <a:lnTo>
                      <a:pt x="21109" y="20329"/>
                    </a:lnTo>
                    <a:lnTo>
                      <a:pt x="20618" y="20752"/>
                    </a:lnTo>
                    <a:lnTo>
                      <a:pt x="20618" y="21176"/>
                    </a:lnTo>
                    <a:lnTo>
                      <a:pt x="20127" y="21600"/>
                    </a:lnTo>
                    <a:lnTo>
                      <a:pt x="19636" y="21600"/>
                    </a:lnTo>
                    <a:lnTo>
                      <a:pt x="19145" y="21176"/>
                    </a:lnTo>
                    <a:lnTo>
                      <a:pt x="19145" y="20329"/>
                    </a:lnTo>
                    <a:lnTo>
                      <a:pt x="18654" y="19482"/>
                    </a:lnTo>
                    <a:lnTo>
                      <a:pt x="18654" y="16941"/>
                    </a:lnTo>
                    <a:lnTo>
                      <a:pt x="17672" y="16094"/>
                    </a:lnTo>
                    <a:lnTo>
                      <a:pt x="16690" y="15670"/>
                    </a:lnTo>
                    <a:lnTo>
                      <a:pt x="16199" y="16517"/>
                    </a:lnTo>
                    <a:lnTo>
                      <a:pt x="15709" y="16094"/>
                    </a:lnTo>
                    <a:lnTo>
                      <a:pt x="12763" y="14823"/>
                    </a:lnTo>
                    <a:lnTo>
                      <a:pt x="11290" y="13976"/>
                    </a:lnTo>
                    <a:lnTo>
                      <a:pt x="10800" y="12705"/>
                    </a:lnTo>
                    <a:lnTo>
                      <a:pt x="7363" y="974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4" name="AutoShape 28"/>
              <p:cNvSpPr>
                <a:spLocks/>
              </p:cNvSpPr>
              <p:nvPr/>
            </p:nvSpPr>
            <p:spPr bwMode="auto">
              <a:xfrm>
                <a:off x="1103314" y="46012"/>
                <a:ext cx="42862" cy="5711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094" y="0"/>
                    </a:moveTo>
                    <a:lnTo>
                      <a:pt x="6821" y="0"/>
                    </a:lnTo>
                    <a:lnTo>
                      <a:pt x="4547" y="800"/>
                    </a:lnTo>
                    <a:lnTo>
                      <a:pt x="2273" y="4000"/>
                    </a:lnTo>
                    <a:lnTo>
                      <a:pt x="1136" y="6400"/>
                    </a:lnTo>
                    <a:lnTo>
                      <a:pt x="1136" y="9600"/>
                    </a:lnTo>
                    <a:lnTo>
                      <a:pt x="0" y="19200"/>
                    </a:lnTo>
                    <a:lnTo>
                      <a:pt x="1136" y="19200"/>
                    </a:lnTo>
                    <a:lnTo>
                      <a:pt x="5684" y="20800"/>
                    </a:lnTo>
                    <a:lnTo>
                      <a:pt x="10231" y="21599"/>
                    </a:lnTo>
                    <a:lnTo>
                      <a:pt x="15915" y="21599"/>
                    </a:lnTo>
                    <a:lnTo>
                      <a:pt x="20463" y="20000"/>
                    </a:lnTo>
                    <a:lnTo>
                      <a:pt x="21600" y="16000"/>
                    </a:lnTo>
                    <a:lnTo>
                      <a:pt x="9094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5" name="AutoShape 29"/>
              <p:cNvSpPr>
                <a:spLocks/>
              </p:cNvSpPr>
              <p:nvPr/>
            </p:nvSpPr>
            <p:spPr bwMode="auto">
              <a:xfrm>
                <a:off x="1244601" y="57119"/>
                <a:ext cx="77788" cy="15231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6352" y="295"/>
                    </a:moveTo>
                    <a:lnTo>
                      <a:pt x="5717" y="295"/>
                    </a:lnTo>
                    <a:lnTo>
                      <a:pt x="5717" y="0"/>
                    </a:lnTo>
                    <a:lnTo>
                      <a:pt x="3811" y="0"/>
                    </a:lnTo>
                    <a:lnTo>
                      <a:pt x="3176" y="295"/>
                    </a:lnTo>
                    <a:lnTo>
                      <a:pt x="3176" y="1183"/>
                    </a:lnTo>
                    <a:lnTo>
                      <a:pt x="3811" y="1479"/>
                    </a:lnTo>
                    <a:lnTo>
                      <a:pt x="3811" y="2367"/>
                    </a:lnTo>
                    <a:lnTo>
                      <a:pt x="3176" y="2958"/>
                    </a:lnTo>
                    <a:lnTo>
                      <a:pt x="2541" y="2958"/>
                    </a:lnTo>
                    <a:lnTo>
                      <a:pt x="1905" y="3254"/>
                    </a:lnTo>
                    <a:lnTo>
                      <a:pt x="1270" y="3846"/>
                    </a:lnTo>
                    <a:lnTo>
                      <a:pt x="1270" y="4734"/>
                    </a:lnTo>
                    <a:lnTo>
                      <a:pt x="635" y="5917"/>
                    </a:lnTo>
                    <a:lnTo>
                      <a:pt x="635" y="8284"/>
                    </a:lnTo>
                    <a:lnTo>
                      <a:pt x="0" y="8580"/>
                    </a:lnTo>
                    <a:lnTo>
                      <a:pt x="0" y="9764"/>
                    </a:lnTo>
                    <a:lnTo>
                      <a:pt x="635" y="10652"/>
                    </a:lnTo>
                    <a:lnTo>
                      <a:pt x="1905" y="11539"/>
                    </a:lnTo>
                    <a:lnTo>
                      <a:pt x="635" y="12427"/>
                    </a:lnTo>
                    <a:lnTo>
                      <a:pt x="2541" y="12427"/>
                    </a:lnTo>
                    <a:lnTo>
                      <a:pt x="3811" y="13019"/>
                    </a:lnTo>
                    <a:lnTo>
                      <a:pt x="4447" y="13610"/>
                    </a:lnTo>
                    <a:lnTo>
                      <a:pt x="4447" y="14794"/>
                    </a:lnTo>
                    <a:lnTo>
                      <a:pt x="5082" y="15090"/>
                    </a:lnTo>
                    <a:lnTo>
                      <a:pt x="4447" y="15682"/>
                    </a:lnTo>
                    <a:lnTo>
                      <a:pt x="4447" y="15978"/>
                    </a:lnTo>
                    <a:lnTo>
                      <a:pt x="3811" y="15978"/>
                    </a:lnTo>
                    <a:lnTo>
                      <a:pt x="3811" y="16273"/>
                    </a:lnTo>
                    <a:lnTo>
                      <a:pt x="3176" y="16569"/>
                    </a:lnTo>
                    <a:lnTo>
                      <a:pt x="3176" y="17753"/>
                    </a:lnTo>
                    <a:lnTo>
                      <a:pt x="3811" y="18641"/>
                    </a:lnTo>
                    <a:lnTo>
                      <a:pt x="3811" y="18936"/>
                    </a:lnTo>
                    <a:lnTo>
                      <a:pt x="3176" y="19232"/>
                    </a:lnTo>
                    <a:lnTo>
                      <a:pt x="3176" y="19528"/>
                    </a:lnTo>
                    <a:lnTo>
                      <a:pt x="3811" y="20120"/>
                    </a:lnTo>
                    <a:lnTo>
                      <a:pt x="3811" y="20712"/>
                    </a:lnTo>
                    <a:lnTo>
                      <a:pt x="5082" y="21008"/>
                    </a:lnTo>
                    <a:lnTo>
                      <a:pt x="6988" y="21304"/>
                    </a:lnTo>
                    <a:lnTo>
                      <a:pt x="8258" y="21599"/>
                    </a:lnTo>
                    <a:lnTo>
                      <a:pt x="12705" y="21599"/>
                    </a:lnTo>
                    <a:lnTo>
                      <a:pt x="13976" y="21304"/>
                    </a:lnTo>
                    <a:lnTo>
                      <a:pt x="15247" y="20712"/>
                    </a:lnTo>
                    <a:lnTo>
                      <a:pt x="15882" y="19824"/>
                    </a:lnTo>
                    <a:lnTo>
                      <a:pt x="16517" y="19232"/>
                    </a:lnTo>
                    <a:lnTo>
                      <a:pt x="16517" y="18641"/>
                    </a:lnTo>
                    <a:lnTo>
                      <a:pt x="17788" y="17753"/>
                    </a:lnTo>
                    <a:lnTo>
                      <a:pt x="18423" y="17161"/>
                    </a:lnTo>
                    <a:lnTo>
                      <a:pt x="20329" y="16273"/>
                    </a:lnTo>
                    <a:lnTo>
                      <a:pt x="20329" y="15978"/>
                    </a:lnTo>
                    <a:lnTo>
                      <a:pt x="21599" y="14794"/>
                    </a:lnTo>
                    <a:lnTo>
                      <a:pt x="21599" y="12427"/>
                    </a:lnTo>
                    <a:lnTo>
                      <a:pt x="20964" y="11835"/>
                    </a:lnTo>
                    <a:lnTo>
                      <a:pt x="19694" y="11539"/>
                    </a:lnTo>
                    <a:lnTo>
                      <a:pt x="19058" y="11539"/>
                    </a:lnTo>
                    <a:lnTo>
                      <a:pt x="17788" y="11835"/>
                    </a:lnTo>
                    <a:lnTo>
                      <a:pt x="15882" y="11835"/>
                    </a:lnTo>
                    <a:lnTo>
                      <a:pt x="16517" y="11539"/>
                    </a:lnTo>
                    <a:lnTo>
                      <a:pt x="17152" y="10947"/>
                    </a:lnTo>
                    <a:lnTo>
                      <a:pt x="17788" y="10652"/>
                    </a:lnTo>
                    <a:lnTo>
                      <a:pt x="17788" y="7693"/>
                    </a:lnTo>
                    <a:lnTo>
                      <a:pt x="17152" y="7101"/>
                    </a:lnTo>
                    <a:lnTo>
                      <a:pt x="16517" y="6213"/>
                    </a:lnTo>
                    <a:lnTo>
                      <a:pt x="13976" y="4438"/>
                    </a:lnTo>
                    <a:lnTo>
                      <a:pt x="12705" y="3846"/>
                    </a:lnTo>
                    <a:lnTo>
                      <a:pt x="11435" y="2663"/>
                    </a:lnTo>
                    <a:lnTo>
                      <a:pt x="10164" y="2367"/>
                    </a:lnTo>
                    <a:lnTo>
                      <a:pt x="9529" y="2071"/>
                    </a:lnTo>
                    <a:lnTo>
                      <a:pt x="8258" y="1775"/>
                    </a:lnTo>
                    <a:lnTo>
                      <a:pt x="5717" y="591"/>
                    </a:lnTo>
                    <a:lnTo>
                      <a:pt x="6352" y="29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6" name="AutoShape 30"/>
              <p:cNvSpPr>
                <a:spLocks/>
              </p:cNvSpPr>
              <p:nvPr/>
            </p:nvSpPr>
            <p:spPr bwMode="auto">
              <a:xfrm>
                <a:off x="976313" y="488681"/>
                <a:ext cx="57150" cy="4918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367" y="8452"/>
                    </a:moveTo>
                    <a:lnTo>
                      <a:pt x="7775" y="8452"/>
                    </a:lnTo>
                    <a:lnTo>
                      <a:pt x="6912" y="9391"/>
                    </a:lnTo>
                    <a:lnTo>
                      <a:pt x="5184" y="10330"/>
                    </a:lnTo>
                    <a:lnTo>
                      <a:pt x="3456" y="12208"/>
                    </a:lnTo>
                    <a:lnTo>
                      <a:pt x="1728" y="12208"/>
                    </a:lnTo>
                    <a:lnTo>
                      <a:pt x="0" y="14086"/>
                    </a:lnTo>
                    <a:lnTo>
                      <a:pt x="0" y="17843"/>
                    </a:lnTo>
                    <a:lnTo>
                      <a:pt x="1728" y="18782"/>
                    </a:lnTo>
                    <a:lnTo>
                      <a:pt x="2592" y="19721"/>
                    </a:lnTo>
                    <a:lnTo>
                      <a:pt x="7775" y="21599"/>
                    </a:lnTo>
                    <a:lnTo>
                      <a:pt x="12959" y="21599"/>
                    </a:lnTo>
                    <a:lnTo>
                      <a:pt x="14687" y="20660"/>
                    </a:lnTo>
                    <a:lnTo>
                      <a:pt x="20735" y="20660"/>
                    </a:lnTo>
                    <a:lnTo>
                      <a:pt x="21599" y="21599"/>
                    </a:lnTo>
                    <a:lnTo>
                      <a:pt x="21599" y="20660"/>
                    </a:lnTo>
                    <a:lnTo>
                      <a:pt x="20735" y="19721"/>
                    </a:lnTo>
                    <a:lnTo>
                      <a:pt x="20735" y="16904"/>
                    </a:lnTo>
                    <a:lnTo>
                      <a:pt x="19872" y="14086"/>
                    </a:lnTo>
                    <a:lnTo>
                      <a:pt x="19007" y="12208"/>
                    </a:lnTo>
                    <a:lnTo>
                      <a:pt x="17279" y="10330"/>
                    </a:lnTo>
                    <a:lnTo>
                      <a:pt x="17279" y="8452"/>
                    </a:lnTo>
                    <a:lnTo>
                      <a:pt x="16415" y="6573"/>
                    </a:lnTo>
                    <a:lnTo>
                      <a:pt x="16415" y="4695"/>
                    </a:lnTo>
                    <a:lnTo>
                      <a:pt x="15551" y="2817"/>
                    </a:lnTo>
                    <a:lnTo>
                      <a:pt x="12959" y="0"/>
                    </a:lnTo>
                    <a:lnTo>
                      <a:pt x="11231" y="939"/>
                    </a:lnTo>
                    <a:lnTo>
                      <a:pt x="10367" y="845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7" name="AutoShape 31"/>
              <p:cNvSpPr>
                <a:spLocks/>
              </p:cNvSpPr>
              <p:nvPr/>
            </p:nvSpPr>
            <p:spPr bwMode="auto">
              <a:xfrm>
                <a:off x="1260476" y="320499"/>
                <a:ext cx="68263" cy="4601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5040" y="981"/>
                    </a:moveTo>
                    <a:lnTo>
                      <a:pt x="1440" y="981"/>
                    </a:lnTo>
                    <a:lnTo>
                      <a:pt x="720" y="1963"/>
                    </a:lnTo>
                    <a:lnTo>
                      <a:pt x="0" y="3927"/>
                    </a:lnTo>
                    <a:lnTo>
                      <a:pt x="0" y="13745"/>
                    </a:lnTo>
                    <a:lnTo>
                      <a:pt x="1440" y="17672"/>
                    </a:lnTo>
                    <a:lnTo>
                      <a:pt x="2160" y="18654"/>
                    </a:lnTo>
                    <a:lnTo>
                      <a:pt x="4320" y="19636"/>
                    </a:lnTo>
                    <a:lnTo>
                      <a:pt x="5040" y="20618"/>
                    </a:lnTo>
                    <a:lnTo>
                      <a:pt x="6480" y="21600"/>
                    </a:lnTo>
                    <a:lnTo>
                      <a:pt x="7920" y="21600"/>
                    </a:lnTo>
                    <a:lnTo>
                      <a:pt x="9360" y="20618"/>
                    </a:lnTo>
                    <a:lnTo>
                      <a:pt x="20880" y="20618"/>
                    </a:lnTo>
                    <a:lnTo>
                      <a:pt x="21599" y="17672"/>
                    </a:lnTo>
                    <a:lnTo>
                      <a:pt x="20880" y="16690"/>
                    </a:lnTo>
                    <a:lnTo>
                      <a:pt x="20880" y="13745"/>
                    </a:lnTo>
                    <a:lnTo>
                      <a:pt x="20160" y="10800"/>
                    </a:lnTo>
                    <a:lnTo>
                      <a:pt x="20160" y="7854"/>
                    </a:lnTo>
                    <a:lnTo>
                      <a:pt x="19440" y="5890"/>
                    </a:lnTo>
                    <a:lnTo>
                      <a:pt x="19440" y="2945"/>
                    </a:lnTo>
                    <a:lnTo>
                      <a:pt x="17279" y="0"/>
                    </a:lnTo>
                    <a:lnTo>
                      <a:pt x="13680" y="0"/>
                    </a:lnTo>
                    <a:lnTo>
                      <a:pt x="10800" y="981"/>
                    </a:lnTo>
                    <a:lnTo>
                      <a:pt x="5040" y="98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8" name="AutoShape 32"/>
              <p:cNvSpPr>
                <a:spLocks/>
              </p:cNvSpPr>
              <p:nvPr/>
            </p:nvSpPr>
            <p:spPr bwMode="auto">
              <a:xfrm>
                <a:off x="1308101" y="536280"/>
                <a:ext cx="26988" cy="3331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999" y="0"/>
                    </a:moveTo>
                    <a:lnTo>
                      <a:pt x="5399" y="0"/>
                    </a:lnTo>
                    <a:lnTo>
                      <a:pt x="1799" y="2700"/>
                    </a:lnTo>
                    <a:lnTo>
                      <a:pt x="0" y="5400"/>
                    </a:lnTo>
                    <a:lnTo>
                      <a:pt x="0" y="17549"/>
                    </a:lnTo>
                    <a:lnTo>
                      <a:pt x="1799" y="20249"/>
                    </a:lnTo>
                    <a:lnTo>
                      <a:pt x="5399" y="21599"/>
                    </a:lnTo>
                    <a:lnTo>
                      <a:pt x="16199" y="21599"/>
                    </a:lnTo>
                    <a:lnTo>
                      <a:pt x="19799" y="20249"/>
                    </a:lnTo>
                    <a:lnTo>
                      <a:pt x="21600" y="18899"/>
                    </a:lnTo>
                    <a:lnTo>
                      <a:pt x="21600" y="5400"/>
                    </a:lnTo>
                    <a:lnTo>
                      <a:pt x="19799" y="2700"/>
                    </a:lnTo>
                    <a:lnTo>
                      <a:pt x="18000" y="1350"/>
                    </a:lnTo>
                    <a:lnTo>
                      <a:pt x="14400" y="0"/>
                    </a:lnTo>
                    <a:lnTo>
                      <a:pt x="899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99" name="AutoShape 33"/>
              <p:cNvSpPr>
                <a:spLocks/>
              </p:cNvSpPr>
              <p:nvPr/>
            </p:nvSpPr>
            <p:spPr bwMode="auto">
              <a:xfrm>
                <a:off x="1296989" y="31733"/>
                <a:ext cx="257175" cy="28083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031" y="5480"/>
                    </a:moveTo>
                    <a:lnTo>
                      <a:pt x="21599" y="6447"/>
                    </a:lnTo>
                    <a:lnTo>
                      <a:pt x="20463" y="6770"/>
                    </a:lnTo>
                    <a:lnTo>
                      <a:pt x="20084" y="6770"/>
                    </a:lnTo>
                    <a:lnTo>
                      <a:pt x="19705" y="6608"/>
                    </a:lnTo>
                    <a:lnTo>
                      <a:pt x="19515" y="6608"/>
                    </a:lnTo>
                    <a:lnTo>
                      <a:pt x="19326" y="6447"/>
                    </a:lnTo>
                    <a:lnTo>
                      <a:pt x="18568" y="6447"/>
                    </a:lnTo>
                    <a:lnTo>
                      <a:pt x="18568" y="6770"/>
                    </a:lnTo>
                    <a:lnTo>
                      <a:pt x="18757" y="6770"/>
                    </a:lnTo>
                    <a:lnTo>
                      <a:pt x="18947" y="6931"/>
                    </a:lnTo>
                    <a:lnTo>
                      <a:pt x="18947" y="7092"/>
                    </a:lnTo>
                    <a:lnTo>
                      <a:pt x="19136" y="7253"/>
                    </a:lnTo>
                    <a:lnTo>
                      <a:pt x="18947" y="7414"/>
                    </a:lnTo>
                    <a:lnTo>
                      <a:pt x="18378" y="7414"/>
                    </a:lnTo>
                    <a:lnTo>
                      <a:pt x="18189" y="7576"/>
                    </a:lnTo>
                    <a:lnTo>
                      <a:pt x="18189" y="7737"/>
                    </a:lnTo>
                    <a:lnTo>
                      <a:pt x="19326" y="7737"/>
                    </a:lnTo>
                    <a:lnTo>
                      <a:pt x="19705" y="7898"/>
                    </a:lnTo>
                    <a:lnTo>
                      <a:pt x="19326" y="8220"/>
                    </a:lnTo>
                    <a:lnTo>
                      <a:pt x="19136" y="8220"/>
                    </a:lnTo>
                    <a:lnTo>
                      <a:pt x="18947" y="8382"/>
                    </a:lnTo>
                    <a:lnTo>
                      <a:pt x="18947" y="8543"/>
                    </a:lnTo>
                    <a:lnTo>
                      <a:pt x="19136" y="8543"/>
                    </a:lnTo>
                    <a:lnTo>
                      <a:pt x="19136" y="8704"/>
                    </a:lnTo>
                    <a:lnTo>
                      <a:pt x="20273" y="8543"/>
                    </a:lnTo>
                    <a:lnTo>
                      <a:pt x="20463" y="8704"/>
                    </a:lnTo>
                    <a:lnTo>
                      <a:pt x="20463" y="8865"/>
                    </a:lnTo>
                    <a:lnTo>
                      <a:pt x="20084" y="9188"/>
                    </a:lnTo>
                    <a:lnTo>
                      <a:pt x="19705" y="9188"/>
                    </a:lnTo>
                    <a:lnTo>
                      <a:pt x="18947" y="9349"/>
                    </a:lnTo>
                    <a:lnTo>
                      <a:pt x="18378" y="9510"/>
                    </a:lnTo>
                    <a:lnTo>
                      <a:pt x="17810" y="9832"/>
                    </a:lnTo>
                    <a:lnTo>
                      <a:pt x="16673" y="10800"/>
                    </a:lnTo>
                    <a:lnTo>
                      <a:pt x="16294" y="10961"/>
                    </a:lnTo>
                    <a:lnTo>
                      <a:pt x="15726" y="11122"/>
                    </a:lnTo>
                    <a:lnTo>
                      <a:pt x="15347" y="11122"/>
                    </a:lnTo>
                    <a:lnTo>
                      <a:pt x="15726" y="11444"/>
                    </a:lnTo>
                    <a:lnTo>
                      <a:pt x="14968" y="12089"/>
                    </a:lnTo>
                    <a:lnTo>
                      <a:pt x="14589" y="12250"/>
                    </a:lnTo>
                    <a:lnTo>
                      <a:pt x="14400" y="12250"/>
                    </a:lnTo>
                    <a:lnTo>
                      <a:pt x="14400" y="12411"/>
                    </a:lnTo>
                    <a:lnTo>
                      <a:pt x="14589" y="12573"/>
                    </a:lnTo>
                    <a:lnTo>
                      <a:pt x="14589" y="12734"/>
                    </a:lnTo>
                    <a:lnTo>
                      <a:pt x="14021" y="13217"/>
                    </a:lnTo>
                    <a:lnTo>
                      <a:pt x="13831" y="13217"/>
                    </a:lnTo>
                    <a:lnTo>
                      <a:pt x="13263" y="12895"/>
                    </a:lnTo>
                    <a:lnTo>
                      <a:pt x="12505" y="13379"/>
                    </a:lnTo>
                    <a:lnTo>
                      <a:pt x="12315" y="13217"/>
                    </a:lnTo>
                    <a:lnTo>
                      <a:pt x="12126" y="13217"/>
                    </a:lnTo>
                    <a:lnTo>
                      <a:pt x="11368" y="13862"/>
                    </a:lnTo>
                    <a:lnTo>
                      <a:pt x="11368" y="14023"/>
                    </a:lnTo>
                    <a:lnTo>
                      <a:pt x="10800" y="14507"/>
                    </a:lnTo>
                    <a:lnTo>
                      <a:pt x="10231" y="14507"/>
                    </a:lnTo>
                    <a:lnTo>
                      <a:pt x="10042" y="14668"/>
                    </a:lnTo>
                    <a:lnTo>
                      <a:pt x="10042" y="15152"/>
                    </a:lnTo>
                    <a:lnTo>
                      <a:pt x="10231" y="14991"/>
                    </a:lnTo>
                    <a:lnTo>
                      <a:pt x="10610" y="15152"/>
                    </a:lnTo>
                    <a:lnTo>
                      <a:pt x="10989" y="15152"/>
                    </a:lnTo>
                    <a:lnTo>
                      <a:pt x="11368" y="15474"/>
                    </a:lnTo>
                    <a:lnTo>
                      <a:pt x="10800" y="15958"/>
                    </a:lnTo>
                    <a:lnTo>
                      <a:pt x="10610" y="15958"/>
                    </a:lnTo>
                    <a:lnTo>
                      <a:pt x="10421" y="16119"/>
                    </a:lnTo>
                    <a:lnTo>
                      <a:pt x="10421" y="16280"/>
                    </a:lnTo>
                    <a:lnTo>
                      <a:pt x="10231" y="16441"/>
                    </a:lnTo>
                    <a:lnTo>
                      <a:pt x="9852" y="16602"/>
                    </a:lnTo>
                    <a:lnTo>
                      <a:pt x="9663" y="16764"/>
                    </a:lnTo>
                    <a:lnTo>
                      <a:pt x="9473" y="17247"/>
                    </a:lnTo>
                    <a:lnTo>
                      <a:pt x="9094" y="17892"/>
                    </a:lnTo>
                    <a:lnTo>
                      <a:pt x="8715" y="18053"/>
                    </a:lnTo>
                    <a:lnTo>
                      <a:pt x="8336" y="18053"/>
                    </a:lnTo>
                    <a:lnTo>
                      <a:pt x="8147" y="18214"/>
                    </a:lnTo>
                    <a:lnTo>
                      <a:pt x="7768" y="18053"/>
                    </a:lnTo>
                    <a:lnTo>
                      <a:pt x="7578" y="18053"/>
                    </a:lnTo>
                    <a:lnTo>
                      <a:pt x="7389" y="18376"/>
                    </a:lnTo>
                    <a:lnTo>
                      <a:pt x="7389" y="18537"/>
                    </a:lnTo>
                    <a:lnTo>
                      <a:pt x="7200" y="18859"/>
                    </a:lnTo>
                    <a:lnTo>
                      <a:pt x="7200" y="19182"/>
                    </a:lnTo>
                    <a:lnTo>
                      <a:pt x="7389" y="19504"/>
                    </a:lnTo>
                    <a:lnTo>
                      <a:pt x="7389" y="20632"/>
                    </a:lnTo>
                    <a:lnTo>
                      <a:pt x="6821" y="21116"/>
                    </a:lnTo>
                    <a:lnTo>
                      <a:pt x="6442" y="21116"/>
                    </a:lnTo>
                    <a:lnTo>
                      <a:pt x="5873" y="21438"/>
                    </a:lnTo>
                    <a:lnTo>
                      <a:pt x="5494" y="21438"/>
                    </a:lnTo>
                    <a:lnTo>
                      <a:pt x="5115" y="21599"/>
                    </a:lnTo>
                    <a:lnTo>
                      <a:pt x="4926" y="21438"/>
                    </a:lnTo>
                    <a:lnTo>
                      <a:pt x="4736" y="21438"/>
                    </a:lnTo>
                    <a:lnTo>
                      <a:pt x="4547" y="21277"/>
                    </a:lnTo>
                    <a:lnTo>
                      <a:pt x="4547" y="21116"/>
                    </a:lnTo>
                    <a:lnTo>
                      <a:pt x="4357" y="20794"/>
                    </a:lnTo>
                    <a:lnTo>
                      <a:pt x="3600" y="20471"/>
                    </a:lnTo>
                    <a:lnTo>
                      <a:pt x="3031" y="20471"/>
                    </a:lnTo>
                    <a:lnTo>
                      <a:pt x="2652" y="20632"/>
                    </a:lnTo>
                    <a:lnTo>
                      <a:pt x="2273" y="20632"/>
                    </a:lnTo>
                    <a:lnTo>
                      <a:pt x="1705" y="20149"/>
                    </a:lnTo>
                    <a:lnTo>
                      <a:pt x="1515" y="20149"/>
                    </a:lnTo>
                    <a:lnTo>
                      <a:pt x="947" y="19826"/>
                    </a:lnTo>
                    <a:lnTo>
                      <a:pt x="568" y="19665"/>
                    </a:lnTo>
                    <a:lnTo>
                      <a:pt x="189" y="19343"/>
                    </a:lnTo>
                    <a:lnTo>
                      <a:pt x="189" y="19182"/>
                    </a:lnTo>
                    <a:lnTo>
                      <a:pt x="0" y="19182"/>
                    </a:lnTo>
                    <a:lnTo>
                      <a:pt x="0" y="19020"/>
                    </a:lnTo>
                    <a:lnTo>
                      <a:pt x="378" y="18537"/>
                    </a:lnTo>
                    <a:lnTo>
                      <a:pt x="568" y="18214"/>
                    </a:lnTo>
                    <a:lnTo>
                      <a:pt x="947" y="18053"/>
                    </a:lnTo>
                    <a:lnTo>
                      <a:pt x="1136" y="17892"/>
                    </a:lnTo>
                    <a:lnTo>
                      <a:pt x="1515" y="17892"/>
                    </a:lnTo>
                    <a:lnTo>
                      <a:pt x="2273" y="17570"/>
                    </a:lnTo>
                    <a:lnTo>
                      <a:pt x="2273" y="17408"/>
                    </a:lnTo>
                    <a:lnTo>
                      <a:pt x="2084" y="17247"/>
                    </a:lnTo>
                    <a:lnTo>
                      <a:pt x="1705" y="17247"/>
                    </a:lnTo>
                    <a:lnTo>
                      <a:pt x="1705" y="16925"/>
                    </a:lnTo>
                    <a:lnTo>
                      <a:pt x="2084" y="16602"/>
                    </a:lnTo>
                    <a:lnTo>
                      <a:pt x="2463" y="16602"/>
                    </a:lnTo>
                    <a:lnTo>
                      <a:pt x="2652" y="16764"/>
                    </a:lnTo>
                    <a:lnTo>
                      <a:pt x="2842" y="17086"/>
                    </a:lnTo>
                    <a:lnTo>
                      <a:pt x="3410" y="17570"/>
                    </a:lnTo>
                    <a:lnTo>
                      <a:pt x="4168" y="17570"/>
                    </a:lnTo>
                    <a:lnTo>
                      <a:pt x="4168" y="17247"/>
                    </a:lnTo>
                    <a:lnTo>
                      <a:pt x="3978" y="17086"/>
                    </a:lnTo>
                    <a:lnTo>
                      <a:pt x="3978" y="16925"/>
                    </a:lnTo>
                    <a:lnTo>
                      <a:pt x="3789" y="16764"/>
                    </a:lnTo>
                    <a:lnTo>
                      <a:pt x="3789" y="16602"/>
                    </a:lnTo>
                    <a:lnTo>
                      <a:pt x="3410" y="16441"/>
                    </a:lnTo>
                    <a:lnTo>
                      <a:pt x="3410" y="16119"/>
                    </a:lnTo>
                    <a:lnTo>
                      <a:pt x="3600" y="15958"/>
                    </a:lnTo>
                    <a:lnTo>
                      <a:pt x="3789" y="15635"/>
                    </a:lnTo>
                    <a:lnTo>
                      <a:pt x="3789" y="15474"/>
                    </a:lnTo>
                    <a:lnTo>
                      <a:pt x="3410" y="15474"/>
                    </a:lnTo>
                    <a:lnTo>
                      <a:pt x="2652" y="15958"/>
                    </a:lnTo>
                    <a:lnTo>
                      <a:pt x="2463" y="15958"/>
                    </a:lnTo>
                    <a:lnTo>
                      <a:pt x="2273" y="15797"/>
                    </a:lnTo>
                    <a:lnTo>
                      <a:pt x="2463" y="15635"/>
                    </a:lnTo>
                    <a:lnTo>
                      <a:pt x="2463" y="15313"/>
                    </a:lnTo>
                    <a:lnTo>
                      <a:pt x="2842" y="14991"/>
                    </a:lnTo>
                    <a:lnTo>
                      <a:pt x="3221" y="14507"/>
                    </a:lnTo>
                    <a:lnTo>
                      <a:pt x="3410" y="14185"/>
                    </a:lnTo>
                    <a:lnTo>
                      <a:pt x="3600" y="14023"/>
                    </a:lnTo>
                    <a:lnTo>
                      <a:pt x="3789" y="14023"/>
                    </a:lnTo>
                    <a:lnTo>
                      <a:pt x="4168" y="14346"/>
                    </a:lnTo>
                    <a:lnTo>
                      <a:pt x="4357" y="14346"/>
                    </a:lnTo>
                    <a:lnTo>
                      <a:pt x="5494" y="13862"/>
                    </a:lnTo>
                    <a:lnTo>
                      <a:pt x="5873" y="13540"/>
                    </a:lnTo>
                    <a:lnTo>
                      <a:pt x="6063" y="13540"/>
                    </a:lnTo>
                    <a:lnTo>
                      <a:pt x="6442" y="13379"/>
                    </a:lnTo>
                    <a:lnTo>
                      <a:pt x="6442" y="13217"/>
                    </a:lnTo>
                    <a:lnTo>
                      <a:pt x="6252" y="13056"/>
                    </a:lnTo>
                    <a:lnTo>
                      <a:pt x="5873" y="13056"/>
                    </a:lnTo>
                    <a:lnTo>
                      <a:pt x="5684" y="13379"/>
                    </a:lnTo>
                    <a:lnTo>
                      <a:pt x="5305" y="13379"/>
                    </a:lnTo>
                    <a:lnTo>
                      <a:pt x="5115" y="13217"/>
                    </a:lnTo>
                    <a:lnTo>
                      <a:pt x="4926" y="13217"/>
                    </a:lnTo>
                    <a:lnTo>
                      <a:pt x="4736" y="13056"/>
                    </a:lnTo>
                    <a:lnTo>
                      <a:pt x="5115" y="11605"/>
                    </a:lnTo>
                    <a:lnTo>
                      <a:pt x="5494" y="11283"/>
                    </a:lnTo>
                    <a:lnTo>
                      <a:pt x="5684" y="10961"/>
                    </a:lnTo>
                    <a:lnTo>
                      <a:pt x="5684" y="10800"/>
                    </a:lnTo>
                    <a:lnTo>
                      <a:pt x="5494" y="10638"/>
                    </a:lnTo>
                    <a:lnTo>
                      <a:pt x="5115" y="10155"/>
                    </a:lnTo>
                    <a:lnTo>
                      <a:pt x="4926" y="9832"/>
                    </a:lnTo>
                    <a:lnTo>
                      <a:pt x="4926" y="9026"/>
                    </a:lnTo>
                    <a:lnTo>
                      <a:pt x="5305" y="8865"/>
                    </a:lnTo>
                    <a:lnTo>
                      <a:pt x="5494" y="8704"/>
                    </a:lnTo>
                    <a:lnTo>
                      <a:pt x="5684" y="8704"/>
                    </a:lnTo>
                    <a:lnTo>
                      <a:pt x="6063" y="8865"/>
                    </a:lnTo>
                    <a:lnTo>
                      <a:pt x="6442" y="9188"/>
                    </a:lnTo>
                    <a:lnTo>
                      <a:pt x="6631" y="9510"/>
                    </a:lnTo>
                    <a:lnTo>
                      <a:pt x="6821" y="9671"/>
                    </a:lnTo>
                    <a:lnTo>
                      <a:pt x="7010" y="11283"/>
                    </a:lnTo>
                    <a:lnTo>
                      <a:pt x="7010" y="11605"/>
                    </a:lnTo>
                    <a:lnTo>
                      <a:pt x="7200" y="11605"/>
                    </a:lnTo>
                    <a:lnTo>
                      <a:pt x="7389" y="11444"/>
                    </a:lnTo>
                    <a:lnTo>
                      <a:pt x="7389" y="11283"/>
                    </a:lnTo>
                    <a:lnTo>
                      <a:pt x="7768" y="10961"/>
                    </a:lnTo>
                    <a:lnTo>
                      <a:pt x="7768" y="10800"/>
                    </a:lnTo>
                    <a:lnTo>
                      <a:pt x="7578" y="10316"/>
                    </a:lnTo>
                    <a:lnTo>
                      <a:pt x="7578" y="9349"/>
                    </a:lnTo>
                    <a:lnTo>
                      <a:pt x="7768" y="9188"/>
                    </a:lnTo>
                    <a:lnTo>
                      <a:pt x="7957" y="8865"/>
                    </a:lnTo>
                    <a:lnTo>
                      <a:pt x="7957" y="8543"/>
                    </a:lnTo>
                    <a:lnTo>
                      <a:pt x="8147" y="8220"/>
                    </a:lnTo>
                    <a:lnTo>
                      <a:pt x="8147" y="7737"/>
                    </a:lnTo>
                    <a:lnTo>
                      <a:pt x="9852" y="7576"/>
                    </a:lnTo>
                    <a:lnTo>
                      <a:pt x="10231" y="7737"/>
                    </a:lnTo>
                    <a:lnTo>
                      <a:pt x="10989" y="7737"/>
                    </a:lnTo>
                    <a:lnTo>
                      <a:pt x="11178" y="7576"/>
                    </a:lnTo>
                    <a:lnTo>
                      <a:pt x="11368" y="7253"/>
                    </a:lnTo>
                    <a:lnTo>
                      <a:pt x="11557" y="7092"/>
                    </a:lnTo>
                    <a:lnTo>
                      <a:pt x="11936" y="6931"/>
                    </a:lnTo>
                    <a:lnTo>
                      <a:pt x="12315" y="6931"/>
                    </a:lnTo>
                    <a:lnTo>
                      <a:pt x="12126" y="6770"/>
                    </a:lnTo>
                    <a:lnTo>
                      <a:pt x="12505" y="6447"/>
                    </a:lnTo>
                    <a:lnTo>
                      <a:pt x="12694" y="6447"/>
                    </a:lnTo>
                    <a:lnTo>
                      <a:pt x="12694" y="6286"/>
                    </a:lnTo>
                    <a:lnTo>
                      <a:pt x="12315" y="6125"/>
                    </a:lnTo>
                    <a:lnTo>
                      <a:pt x="9094" y="6447"/>
                    </a:lnTo>
                    <a:lnTo>
                      <a:pt x="8715" y="6125"/>
                    </a:lnTo>
                    <a:lnTo>
                      <a:pt x="8526" y="6125"/>
                    </a:lnTo>
                    <a:lnTo>
                      <a:pt x="8147" y="5964"/>
                    </a:lnTo>
                    <a:lnTo>
                      <a:pt x="6631" y="5964"/>
                    </a:lnTo>
                    <a:lnTo>
                      <a:pt x="6252" y="5641"/>
                    </a:lnTo>
                    <a:lnTo>
                      <a:pt x="5873" y="5641"/>
                    </a:lnTo>
                    <a:lnTo>
                      <a:pt x="5873" y="5802"/>
                    </a:lnTo>
                    <a:lnTo>
                      <a:pt x="5494" y="5964"/>
                    </a:lnTo>
                    <a:lnTo>
                      <a:pt x="5115" y="5964"/>
                    </a:lnTo>
                    <a:lnTo>
                      <a:pt x="5115" y="5802"/>
                    </a:lnTo>
                    <a:lnTo>
                      <a:pt x="4168" y="5158"/>
                    </a:lnTo>
                    <a:lnTo>
                      <a:pt x="3978" y="4835"/>
                    </a:lnTo>
                    <a:lnTo>
                      <a:pt x="3978" y="4513"/>
                    </a:lnTo>
                    <a:lnTo>
                      <a:pt x="4168" y="4352"/>
                    </a:lnTo>
                    <a:lnTo>
                      <a:pt x="4357" y="4029"/>
                    </a:lnTo>
                    <a:lnTo>
                      <a:pt x="4168" y="3707"/>
                    </a:lnTo>
                    <a:lnTo>
                      <a:pt x="4168" y="3546"/>
                    </a:lnTo>
                    <a:lnTo>
                      <a:pt x="3978" y="3546"/>
                    </a:lnTo>
                    <a:lnTo>
                      <a:pt x="4168" y="3385"/>
                    </a:lnTo>
                    <a:lnTo>
                      <a:pt x="4168" y="3223"/>
                    </a:lnTo>
                    <a:lnTo>
                      <a:pt x="4547" y="3062"/>
                    </a:lnTo>
                    <a:lnTo>
                      <a:pt x="4736" y="2901"/>
                    </a:lnTo>
                    <a:lnTo>
                      <a:pt x="5305" y="2901"/>
                    </a:lnTo>
                    <a:lnTo>
                      <a:pt x="5684" y="3062"/>
                    </a:lnTo>
                    <a:lnTo>
                      <a:pt x="6063" y="3385"/>
                    </a:lnTo>
                    <a:lnTo>
                      <a:pt x="6252" y="3385"/>
                    </a:lnTo>
                    <a:lnTo>
                      <a:pt x="6442" y="3546"/>
                    </a:lnTo>
                    <a:lnTo>
                      <a:pt x="6631" y="2740"/>
                    </a:lnTo>
                    <a:lnTo>
                      <a:pt x="6631" y="2579"/>
                    </a:lnTo>
                    <a:lnTo>
                      <a:pt x="7010" y="2256"/>
                    </a:lnTo>
                    <a:lnTo>
                      <a:pt x="7389" y="2095"/>
                    </a:lnTo>
                    <a:lnTo>
                      <a:pt x="8147" y="2095"/>
                    </a:lnTo>
                    <a:lnTo>
                      <a:pt x="8526" y="1934"/>
                    </a:lnTo>
                    <a:lnTo>
                      <a:pt x="8715" y="1773"/>
                    </a:lnTo>
                    <a:lnTo>
                      <a:pt x="9094" y="2095"/>
                    </a:lnTo>
                    <a:lnTo>
                      <a:pt x="9473" y="1450"/>
                    </a:lnTo>
                    <a:lnTo>
                      <a:pt x="9473" y="1289"/>
                    </a:lnTo>
                    <a:lnTo>
                      <a:pt x="9663" y="1128"/>
                    </a:lnTo>
                    <a:lnTo>
                      <a:pt x="10042" y="967"/>
                    </a:lnTo>
                    <a:lnTo>
                      <a:pt x="10421" y="644"/>
                    </a:lnTo>
                    <a:lnTo>
                      <a:pt x="11178" y="483"/>
                    </a:lnTo>
                    <a:lnTo>
                      <a:pt x="11368" y="1128"/>
                    </a:lnTo>
                    <a:lnTo>
                      <a:pt x="11557" y="322"/>
                    </a:lnTo>
                    <a:lnTo>
                      <a:pt x="11557" y="161"/>
                    </a:lnTo>
                    <a:lnTo>
                      <a:pt x="11936" y="161"/>
                    </a:lnTo>
                    <a:lnTo>
                      <a:pt x="12315" y="0"/>
                    </a:lnTo>
                    <a:lnTo>
                      <a:pt x="13073" y="0"/>
                    </a:lnTo>
                    <a:lnTo>
                      <a:pt x="14021" y="161"/>
                    </a:lnTo>
                    <a:lnTo>
                      <a:pt x="15157" y="161"/>
                    </a:lnTo>
                    <a:lnTo>
                      <a:pt x="16105" y="322"/>
                    </a:lnTo>
                    <a:lnTo>
                      <a:pt x="16484" y="322"/>
                    </a:lnTo>
                    <a:lnTo>
                      <a:pt x="16484" y="1128"/>
                    </a:lnTo>
                    <a:lnTo>
                      <a:pt x="17052" y="644"/>
                    </a:lnTo>
                    <a:lnTo>
                      <a:pt x="17431" y="483"/>
                    </a:lnTo>
                    <a:lnTo>
                      <a:pt x="17810" y="483"/>
                    </a:lnTo>
                    <a:lnTo>
                      <a:pt x="18189" y="644"/>
                    </a:lnTo>
                    <a:lnTo>
                      <a:pt x="18568" y="644"/>
                    </a:lnTo>
                    <a:lnTo>
                      <a:pt x="18947" y="967"/>
                    </a:lnTo>
                    <a:lnTo>
                      <a:pt x="19136" y="1289"/>
                    </a:lnTo>
                    <a:lnTo>
                      <a:pt x="19515" y="1611"/>
                    </a:lnTo>
                    <a:lnTo>
                      <a:pt x="19894" y="1773"/>
                    </a:lnTo>
                    <a:lnTo>
                      <a:pt x="20084" y="2095"/>
                    </a:lnTo>
                    <a:lnTo>
                      <a:pt x="19705" y="2417"/>
                    </a:lnTo>
                    <a:lnTo>
                      <a:pt x="19894" y="2417"/>
                    </a:lnTo>
                    <a:lnTo>
                      <a:pt x="19894" y="2256"/>
                    </a:lnTo>
                    <a:lnTo>
                      <a:pt x="20273" y="2256"/>
                    </a:lnTo>
                    <a:lnTo>
                      <a:pt x="20463" y="2417"/>
                    </a:lnTo>
                    <a:lnTo>
                      <a:pt x="20842" y="2901"/>
                    </a:lnTo>
                    <a:lnTo>
                      <a:pt x="21031" y="3223"/>
                    </a:lnTo>
                    <a:lnTo>
                      <a:pt x="20652" y="4191"/>
                    </a:lnTo>
                    <a:lnTo>
                      <a:pt x="20463" y="4513"/>
                    </a:lnTo>
                    <a:lnTo>
                      <a:pt x="20652" y="4835"/>
                    </a:lnTo>
                    <a:lnTo>
                      <a:pt x="20652" y="5158"/>
                    </a:lnTo>
                    <a:lnTo>
                      <a:pt x="21031" y="548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200" name="AutoShape 34"/>
              <p:cNvSpPr>
                <a:spLocks/>
              </p:cNvSpPr>
              <p:nvPr/>
            </p:nvSpPr>
            <p:spPr bwMode="auto">
              <a:xfrm>
                <a:off x="381000" y="423629"/>
                <a:ext cx="1233489" cy="77903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6782" y="20326"/>
                    </a:moveTo>
                    <a:lnTo>
                      <a:pt x="17058" y="19978"/>
                    </a:lnTo>
                    <a:lnTo>
                      <a:pt x="17374" y="19746"/>
                    </a:lnTo>
                    <a:lnTo>
                      <a:pt x="17651" y="19689"/>
                    </a:lnTo>
                    <a:lnTo>
                      <a:pt x="17888" y="19631"/>
                    </a:lnTo>
                    <a:lnTo>
                      <a:pt x="17967" y="19631"/>
                    </a:lnTo>
                    <a:lnTo>
                      <a:pt x="18085" y="19341"/>
                    </a:lnTo>
                    <a:lnTo>
                      <a:pt x="18164" y="19167"/>
                    </a:lnTo>
                    <a:lnTo>
                      <a:pt x="18243" y="19052"/>
                    </a:lnTo>
                    <a:lnTo>
                      <a:pt x="18401" y="18936"/>
                    </a:lnTo>
                    <a:lnTo>
                      <a:pt x="18440" y="18936"/>
                    </a:lnTo>
                    <a:lnTo>
                      <a:pt x="18480" y="18994"/>
                    </a:lnTo>
                    <a:lnTo>
                      <a:pt x="18519" y="18994"/>
                    </a:lnTo>
                    <a:lnTo>
                      <a:pt x="18638" y="19052"/>
                    </a:lnTo>
                    <a:lnTo>
                      <a:pt x="18677" y="19283"/>
                    </a:lnTo>
                    <a:lnTo>
                      <a:pt x="18638" y="19515"/>
                    </a:lnTo>
                    <a:lnTo>
                      <a:pt x="18559" y="19746"/>
                    </a:lnTo>
                    <a:lnTo>
                      <a:pt x="18519" y="19920"/>
                    </a:lnTo>
                    <a:lnTo>
                      <a:pt x="18480" y="19978"/>
                    </a:lnTo>
                    <a:lnTo>
                      <a:pt x="18677" y="20210"/>
                    </a:lnTo>
                    <a:lnTo>
                      <a:pt x="18875" y="20268"/>
                    </a:lnTo>
                    <a:lnTo>
                      <a:pt x="19033" y="20152"/>
                    </a:lnTo>
                    <a:lnTo>
                      <a:pt x="19151" y="20036"/>
                    </a:lnTo>
                    <a:lnTo>
                      <a:pt x="19191" y="19978"/>
                    </a:lnTo>
                    <a:lnTo>
                      <a:pt x="19349" y="19978"/>
                    </a:lnTo>
                    <a:lnTo>
                      <a:pt x="19388" y="20036"/>
                    </a:lnTo>
                    <a:lnTo>
                      <a:pt x="19388" y="20094"/>
                    </a:lnTo>
                    <a:lnTo>
                      <a:pt x="19230" y="20326"/>
                    </a:lnTo>
                    <a:lnTo>
                      <a:pt x="19191" y="20326"/>
                    </a:lnTo>
                    <a:lnTo>
                      <a:pt x="19072" y="20441"/>
                    </a:lnTo>
                    <a:lnTo>
                      <a:pt x="18993" y="20499"/>
                    </a:lnTo>
                    <a:lnTo>
                      <a:pt x="18954" y="20615"/>
                    </a:lnTo>
                    <a:lnTo>
                      <a:pt x="18954" y="20847"/>
                    </a:lnTo>
                    <a:lnTo>
                      <a:pt x="18993" y="20905"/>
                    </a:lnTo>
                    <a:lnTo>
                      <a:pt x="19112" y="20905"/>
                    </a:lnTo>
                    <a:lnTo>
                      <a:pt x="19586" y="20673"/>
                    </a:lnTo>
                    <a:lnTo>
                      <a:pt x="19783" y="20557"/>
                    </a:lnTo>
                    <a:lnTo>
                      <a:pt x="19941" y="20441"/>
                    </a:lnTo>
                    <a:lnTo>
                      <a:pt x="19980" y="20383"/>
                    </a:lnTo>
                    <a:lnTo>
                      <a:pt x="19980" y="20326"/>
                    </a:lnTo>
                    <a:lnTo>
                      <a:pt x="19862" y="20152"/>
                    </a:lnTo>
                    <a:lnTo>
                      <a:pt x="19823" y="20152"/>
                    </a:lnTo>
                    <a:lnTo>
                      <a:pt x="19744" y="20094"/>
                    </a:lnTo>
                    <a:lnTo>
                      <a:pt x="19665" y="19978"/>
                    </a:lnTo>
                    <a:lnTo>
                      <a:pt x="19546" y="19862"/>
                    </a:lnTo>
                    <a:lnTo>
                      <a:pt x="19388" y="19631"/>
                    </a:lnTo>
                    <a:lnTo>
                      <a:pt x="19349" y="19515"/>
                    </a:lnTo>
                    <a:lnTo>
                      <a:pt x="19191" y="19283"/>
                    </a:lnTo>
                    <a:lnTo>
                      <a:pt x="19151" y="19167"/>
                    </a:lnTo>
                    <a:lnTo>
                      <a:pt x="19191" y="19052"/>
                    </a:lnTo>
                    <a:lnTo>
                      <a:pt x="19191" y="18994"/>
                    </a:lnTo>
                    <a:lnTo>
                      <a:pt x="19230" y="18936"/>
                    </a:lnTo>
                    <a:lnTo>
                      <a:pt x="19230" y="18762"/>
                    </a:lnTo>
                    <a:lnTo>
                      <a:pt x="19191" y="18704"/>
                    </a:lnTo>
                    <a:lnTo>
                      <a:pt x="19151" y="18704"/>
                    </a:lnTo>
                    <a:lnTo>
                      <a:pt x="19112" y="18646"/>
                    </a:lnTo>
                    <a:lnTo>
                      <a:pt x="19072" y="18704"/>
                    </a:lnTo>
                    <a:lnTo>
                      <a:pt x="19033" y="18704"/>
                    </a:lnTo>
                    <a:lnTo>
                      <a:pt x="19033" y="18530"/>
                    </a:lnTo>
                    <a:lnTo>
                      <a:pt x="19151" y="18530"/>
                    </a:lnTo>
                    <a:lnTo>
                      <a:pt x="19309" y="18415"/>
                    </a:lnTo>
                    <a:lnTo>
                      <a:pt x="19349" y="18299"/>
                    </a:lnTo>
                    <a:lnTo>
                      <a:pt x="19388" y="18241"/>
                    </a:lnTo>
                    <a:lnTo>
                      <a:pt x="19388" y="18183"/>
                    </a:lnTo>
                    <a:lnTo>
                      <a:pt x="19349" y="18067"/>
                    </a:lnTo>
                    <a:lnTo>
                      <a:pt x="19270" y="17951"/>
                    </a:lnTo>
                    <a:lnTo>
                      <a:pt x="19112" y="17951"/>
                    </a:lnTo>
                    <a:lnTo>
                      <a:pt x="19072" y="18009"/>
                    </a:lnTo>
                    <a:lnTo>
                      <a:pt x="19033" y="18009"/>
                    </a:lnTo>
                    <a:lnTo>
                      <a:pt x="18717" y="18183"/>
                    </a:lnTo>
                    <a:lnTo>
                      <a:pt x="18480" y="18357"/>
                    </a:lnTo>
                    <a:lnTo>
                      <a:pt x="18361" y="18472"/>
                    </a:lnTo>
                    <a:lnTo>
                      <a:pt x="17927" y="19109"/>
                    </a:lnTo>
                    <a:lnTo>
                      <a:pt x="17730" y="19283"/>
                    </a:lnTo>
                    <a:lnTo>
                      <a:pt x="17611" y="19341"/>
                    </a:lnTo>
                    <a:lnTo>
                      <a:pt x="18204" y="18299"/>
                    </a:lnTo>
                    <a:lnTo>
                      <a:pt x="18322" y="18009"/>
                    </a:lnTo>
                    <a:lnTo>
                      <a:pt x="18361" y="17951"/>
                    </a:lnTo>
                    <a:lnTo>
                      <a:pt x="18796" y="17546"/>
                    </a:lnTo>
                    <a:lnTo>
                      <a:pt x="19112" y="17314"/>
                    </a:lnTo>
                    <a:lnTo>
                      <a:pt x="19230" y="17314"/>
                    </a:lnTo>
                    <a:lnTo>
                      <a:pt x="19546" y="17372"/>
                    </a:lnTo>
                    <a:lnTo>
                      <a:pt x="20178" y="17372"/>
                    </a:lnTo>
                    <a:lnTo>
                      <a:pt x="20415" y="17314"/>
                    </a:lnTo>
                    <a:lnTo>
                      <a:pt x="20494" y="17314"/>
                    </a:lnTo>
                    <a:lnTo>
                      <a:pt x="20652" y="17256"/>
                    </a:lnTo>
                    <a:lnTo>
                      <a:pt x="20770" y="17198"/>
                    </a:lnTo>
                    <a:lnTo>
                      <a:pt x="20889" y="17025"/>
                    </a:lnTo>
                    <a:lnTo>
                      <a:pt x="20928" y="16909"/>
                    </a:lnTo>
                    <a:lnTo>
                      <a:pt x="20928" y="16793"/>
                    </a:lnTo>
                    <a:lnTo>
                      <a:pt x="21007" y="16619"/>
                    </a:lnTo>
                    <a:lnTo>
                      <a:pt x="21086" y="16504"/>
                    </a:lnTo>
                    <a:lnTo>
                      <a:pt x="21244" y="16388"/>
                    </a:lnTo>
                    <a:lnTo>
                      <a:pt x="21323" y="16388"/>
                    </a:lnTo>
                    <a:lnTo>
                      <a:pt x="21363" y="16446"/>
                    </a:lnTo>
                    <a:lnTo>
                      <a:pt x="21521" y="16272"/>
                    </a:lnTo>
                    <a:lnTo>
                      <a:pt x="21600" y="15982"/>
                    </a:lnTo>
                    <a:lnTo>
                      <a:pt x="21600" y="15635"/>
                    </a:lnTo>
                    <a:lnTo>
                      <a:pt x="21560" y="15345"/>
                    </a:lnTo>
                    <a:lnTo>
                      <a:pt x="21481" y="15172"/>
                    </a:lnTo>
                    <a:lnTo>
                      <a:pt x="21363" y="14998"/>
                    </a:lnTo>
                    <a:lnTo>
                      <a:pt x="21284" y="14998"/>
                    </a:lnTo>
                    <a:lnTo>
                      <a:pt x="21244" y="14766"/>
                    </a:lnTo>
                    <a:lnTo>
                      <a:pt x="21205" y="14593"/>
                    </a:lnTo>
                    <a:lnTo>
                      <a:pt x="21165" y="14535"/>
                    </a:lnTo>
                    <a:lnTo>
                      <a:pt x="21165" y="14477"/>
                    </a:lnTo>
                    <a:lnTo>
                      <a:pt x="20770" y="14477"/>
                    </a:lnTo>
                    <a:lnTo>
                      <a:pt x="20691" y="14535"/>
                    </a:lnTo>
                    <a:lnTo>
                      <a:pt x="20652" y="14593"/>
                    </a:lnTo>
                    <a:lnTo>
                      <a:pt x="20612" y="14535"/>
                    </a:lnTo>
                    <a:lnTo>
                      <a:pt x="20573" y="14535"/>
                    </a:lnTo>
                    <a:lnTo>
                      <a:pt x="20533" y="14477"/>
                    </a:lnTo>
                    <a:lnTo>
                      <a:pt x="20415" y="14013"/>
                    </a:lnTo>
                    <a:lnTo>
                      <a:pt x="20336" y="13550"/>
                    </a:lnTo>
                    <a:lnTo>
                      <a:pt x="20257" y="13203"/>
                    </a:lnTo>
                    <a:lnTo>
                      <a:pt x="20217" y="13087"/>
                    </a:lnTo>
                    <a:lnTo>
                      <a:pt x="20217" y="13203"/>
                    </a:lnTo>
                    <a:lnTo>
                      <a:pt x="20178" y="12971"/>
                    </a:lnTo>
                    <a:lnTo>
                      <a:pt x="20059" y="12624"/>
                    </a:lnTo>
                    <a:lnTo>
                      <a:pt x="19941" y="12218"/>
                    </a:lnTo>
                    <a:lnTo>
                      <a:pt x="19783" y="11813"/>
                    </a:lnTo>
                    <a:lnTo>
                      <a:pt x="19665" y="11523"/>
                    </a:lnTo>
                    <a:lnTo>
                      <a:pt x="19625" y="11408"/>
                    </a:lnTo>
                    <a:lnTo>
                      <a:pt x="19586" y="11118"/>
                    </a:lnTo>
                    <a:lnTo>
                      <a:pt x="19507" y="10944"/>
                    </a:lnTo>
                    <a:lnTo>
                      <a:pt x="19467" y="10828"/>
                    </a:lnTo>
                    <a:lnTo>
                      <a:pt x="19388" y="10771"/>
                    </a:lnTo>
                    <a:lnTo>
                      <a:pt x="19349" y="10713"/>
                    </a:lnTo>
                    <a:lnTo>
                      <a:pt x="19230" y="10713"/>
                    </a:lnTo>
                    <a:lnTo>
                      <a:pt x="19230" y="10771"/>
                    </a:lnTo>
                    <a:lnTo>
                      <a:pt x="19191" y="10771"/>
                    </a:lnTo>
                    <a:lnTo>
                      <a:pt x="19230" y="11176"/>
                    </a:lnTo>
                    <a:lnTo>
                      <a:pt x="19151" y="11408"/>
                    </a:lnTo>
                    <a:lnTo>
                      <a:pt x="19033" y="11581"/>
                    </a:lnTo>
                    <a:lnTo>
                      <a:pt x="18914" y="11697"/>
                    </a:lnTo>
                    <a:lnTo>
                      <a:pt x="18835" y="11697"/>
                    </a:lnTo>
                    <a:lnTo>
                      <a:pt x="18598" y="11813"/>
                    </a:lnTo>
                    <a:lnTo>
                      <a:pt x="18401" y="11813"/>
                    </a:lnTo>
                    <a:lnTo>
                      <a:pt x="18282" y="11697"/>
                    </a:lnTo>
                    <a:lnTo>
                      <a:pt x="18243" y="11581"/>
                    </a:lnTo>
                    <a:lnTo>
                      <a:pt x="18204" y="11523"/>
                    </a:lnTo>
                    <a:lnTo>
                      <a:pt x="18125" y="11234"/>
                    </a:lnTo>
                    <a:lnTo>
                      <a:pt x="18125" y="10944"/>
                    </a:lnTo>
                    <a:lnTo>
                      <a:pt x="18164" y="10713"/>
                    </a:lnTo>
                    <a:lnTo>
                      <a:pt x="18204" y="10597"/>
                    </a:lnTo>
                    <a:lnTo>
                      <a:pt x="18085" y="10249"/>
                    </a:lnTo>
                    <a:lnTo>
                      <a:pt x="18125" y="10134"/>
                    </a:lnTo>
                    <a:lnTo>
                      <a:pt x="18125" y="9960"/>
                    </a:lnTo>
                    <a:lnTo>
                      <a:pt x="18085" y="9902"/>
                    </a:lnTo>
                    <a:lnTo>
                      <a:pt x="17927" y="9786"/>
                    </a:lnTo>
                    <a:lnTo>
                      <a:pt x="17848" y="9670"/>
                    </a:lnTo>
                    <a:lnTo>
                      <a:pt x="17769" y="9612"/>
                    </a:lnTo>
                    <a:lnTo>
                      <a:pt x="17730" y="9497"/>
                    </a:lnTo>
                    <a:lnTo>
                      <a:pt x="17690" y="9439"/>
                    </a:lnTo>
                    <a:lnTo>
                      <a:pt x="17651" y="9439"/>
                    </a:lnTo>
                    <a:lnTo>
                      <a:pt x="17572" y="9265"/>
                    </a:lnTo>
                    <a:lnTo>
                      <a:pt x="17493" y="9149"/>
                    </a:lnTo>
                    <a:lnTo>
                      <a:pt x="17335" y="9033"/>
                    </a:lnTo>
                    <a:lnTo>
                      <a:pt x="17177" y="9033"/>
                    </a:lnTo>
                    <a:lnTo>
                      <a:pt x="16387" y="8975"/>
                    </a:lnTo>
                    <a:lnTo>
                      <a:pt x="16308" y="8917"/>
                    </a:lnTo>
                    <a:lnTo>
                      <a:pt x="16150" y="8917"/>
                    </a:lnTo>
                    <a:lnTo>
                      <a:pt x="16032" y="9091"/>
                    </a:lnTo>
                    <a:lnTo>
                      <a:pt x="15992" y="9207"/>
                    </a:lnTo>
                    <a:lnTo>
                      <a:pt x="15992" y="9381"/>
                    </a:lnTo>
                    <a:lnTo>
                      <a:pt x="15913" y="9497"/>
                    </a:lnTo>
                    <a:lnTo>
                      <a:pt x="15913" y="9960"/>
                    </a:lnTo>
                    <a:lnTo>
                      <a:pt x="15992" y="10076"/>
                    </a:lnTo>
                    <a:lnTo>
                      <a:pt x="16032" y="10249"/>
                    </a:lnTo>
                    <a:lnTo>
                      <a:pt x="16071" y="10365"/>
                    </a:lnTo>
                    <a:lnTo>
                      <a:pt x="16071" y="10597"/>
                    </a:lnTo>
                    <a:lnTo>
                      <a:pt x="15953" y="11234"/>
                    </a:lnTo>
                    <a:lnTo>
                      <a:pt x="15874" y="11639"/>
                    </a:lnTo>
                    <a:lnTo>
                      <a:pt x="15834" y="11813"/>
                    </a:lnTo>
                    <a:lnTo>
                      <a:pt x="15913" y="12045"/>
                    </a:lnTo>
                    <a:lnTo>
                      <a:pt x="15992" y="12450"/>
                    </a:lnTo>
                    <a:lnTo>
                      <a:pt x="16071" y="12913"/>
                    </a:lnTo>
                    <a:lnTo>
                      <a:pt x="16111" y="13261"/>
                    </a:lnTo>
                    <a:lnTo>
                      <a:pt x="16150" y="13376"/>
                    </a:lnTo>
                    <a:lnTo>
                      <a:pt x="16150" y="13608"/>
                    </a:lnTo>
                    <a:lnTo>
                      <a:pt x="16032" y="13956"/>
                    </a:lnTo>
                    <a:lnTo>
                      <a:pt x="15992" y="13956"/>
                    </a:lnTo>
                    <a:lnTo>
                      <a:pt x="15953" y="14013"/>
                    </a:lnTo>
                    <a:lnTo>
                      <a:pt x="15913" y="14013"/>
                    </a:lnTo>
                    <a:lnTo>
                      <a:pt x="15874" y="14187"/>
                    </a:lnTo>
                    <a:lnTo>
                      <a:pt x="15795" y="14361"/>
                    </a:lnTo>
                    <a:lnTo>
                      <a:pt x="15716" y="14477"/>
                    </a:lnTo>
                    <a:lnTo>
                      <a:pt x="15558" y="14593"/>
                    </a:lnTo>
                    <a:lnTo>
                      <a:pt x="15597" y="14650"/>
                    </a:lnTo>
                    <a:lnTo>
                      <a:pt x="15597" y="15635"/>
                    </a:lnTo>
                    <a:lnTo>
                      <a:pt x="15676" y="15867"/>
                    </a:lnTo>
                    <a:lnTo>
                      <a:pt x="15795" y="16040"/>
                    </a:lnTo>
                    <a:lnTo>
                      <a:pt x="15795" y="16272"/>
                    </a:lnTo>
                    <a:lnTo>
                      <a:pt x="15755" y="16446"/>
                    </a:lnTo>
                    <a:lnTo>
                      <a:pt x="15676" y="16561"/>
                    </a:lnTo>
                    <a:lnTo>
                      <a:pt x="15637" y="16677"/>
                    </a:lnTo>
                    <a:lnTo>
                      <a:pt x="15518" y="16851"/>
                    </a:lnTo>
                    <a:lnTo>
                      <a:pt x="15439" y="16909"/>
                    </a:lnTo>
                    <a:lnTo>
                      <a:pt x="15360" y="16909"/>
                    </a:lnTo>
                    <a:lnTo>
                      <a:pt x="15202" y="16677"/>
                    </a:lnTo>
                    <a:lnTo>
                      <a:pt x="15202" y="16619"/>
                    </a:lnTo>
                    <a:lnTo>
                      <a:pt x="15084" y="16272"/>
                    </a:lnTo>
                    <a:lnTo>
                      <a:pt x="15084" y="16214"/>
                    </a:lnTo>
                    <a:lnTo>
                      <a:pt x="15044" y="16156"/>
                    </a:lnTo>
                    <a:lnTo>
                      <a:pt x="14887" y="16040"/>
                    </a:lnTo>
                    <a:lnTo>
                      <a:pt x="14847" y="15924"/>
                    </a:lnTo>
                    <a:lnTo>
                      <a:pt x="14847" y="15693"/>
                    </a:lnTo>
                    <a:lnTo>
                      <a:pt x="14808" y="15635"/>
                    </a:lnTo>
                    <a:lnTo>
                      <a:pt x="14768" y="15461"/>
                    </a:lnTo>
                    <a:lnTo>
                      <a:pt x="14729" y="15345"/>
                    </a:lnTo>
                    <a:lnTo>
                      <a:pt x="14729" y="15172"/>
                    </a:lnTo>
                    <a:lnTo>
                      <a:pt x="14689" y="15114"/>
                    </a:lnTo>
                    <a:lnTo>
                      <a:pt x="14689" y="14766"/>
                    </a:lnTo>
                    <a:lnTo>
                      <a:pt x="14650" y="14593"/>
                    </a:lnTo>
                    <a:lnTo>
                      <a:pt x="14571" y="14477"/>
                    </a:lnTo>
                    <a:lnTo>
                      <a:pt x="14531" y="14361"/>
                    </a:lnTo>
                    <a:lnTo>
                      <a:pt x="14452" y="14303"/>
                    </a:lnTo>
                    <a:lnTo>
                      <a:pt x="14413" y="14245"/>
                    </a:lnTo>
                    <a:lnTo>
                      <a:pt x="14334" y="14245"/>
                    </a:lnTo>
                    <a:lnTo>
                      <a:pt x="14097" y="14187"/>
                    </a:lnTo>
                    <a:lnTo>
                      <a:pt x="13860" y="14187"/>
                    </a:lnTo>
                    <a:lnTo>
                      <a:pt x="13623" y="14245"/>
                    </a:lnTo>
                    <a:lnTo>
                      <a:pt x="13544" y="14245"/>
                    </a:lnTo>
                    <a:lnTo>
                      <a:pt x="13228" y="14129"/>
                    </a:lnTo>
                    <a:lnTo>
                      <a:pt x="13031" y="13840"/>
                    </a:lnTo>
                    <a:lnTo>
                      <a:pt x="12873" y="13550"/>
                    </a:lnTo>
                    <a:lnTo>
                      <a:pt x="12833" y="13261"/>
                    </a:lnTo>
                    <a:lnTo>
                      <a:pt x="12833" y="13203"/>
                    </a:lnTo>
                    <a:lnTo>
                      <a:pt x="12715" y="12913"/>
                    </a:lnTo>
                    <a:lnTo>
                      <a:pt x="12557" y="12566"/>
                    </a:lnTo>
                    <a:lnTo>
                      <a:pt x="12438" y="12450"/>
                    </a:lnTo>
                    <a:lnTo>
                      <a:pt x="12399" y="12392"/>
                    </a:lnTo>
                    <a:lnTo>
                      <a:pt x="12320" y="12392"/>
                    </a:lnTo>
                    <a:lnTo>
                      <a:pt x="12280" y="12160"/>
                    </a:lnTo>
                    <a:lnTo>
                      <a:pt x="12201" y="11929"/>
                    </a:lnTo>
                    <a:lnTo>
                      <a:pt x="12162" y="11871"/>
                    </a:lnTo>
                    <a:lnTo>
                      <a:pt x="12004" y="11929"/>
                    </a:lnTo>
                    <a:lnTo>
                      <a:pt x="11885" y="11871"/>
                    </a:lnTo>
                    <a:lnTo>
                      <a:pt x="11806" y="11813"/>
                    </a:lnTo>
                    <a:lnTo>
                      <a:pt x="11727" y="11639"/>
                    </a:lnTo>
                    <a:lnTo>
                      <a:pt x="11688" y="11523"/>
                    </a:lnTo>
                    <a:lnTo>
                      <a:pt x="11688" y="11350"/>
                    </a:lnTo>
                    <a:lnTo>
                      <a:pt x="11648" y="11234"/>
                    </a:lnTo>
                    <a:lnTo>
                      <a:pt x="11648" y="11118"/>
                    </a:lnTo>
                    <a:lnTo>
                      <a:pt x="11688" y="10771"/>
                    </a:lnTo>
                    <a:lnTo>
                      <a:pt x="11806" y="10365"/>
                    </a:lnTo>
                    <a:lnTo>
                      <a:pt x="12004" y="9902"/>
                    </a:lnTo>
                    <a:lnTo>
                      <a:pt x="12201" y="9554"/>
                    </a:lnTo>
                    <a:lnTo>
                      <a:pt x="12320" y="9265"/>
                    </a:lnTo>
                    <a:lnTo>
                      <a:pt x="12399" y="9207"/>
                    </a:lnTo>
                    <a:lnTo>
                      <a:pt x="12517" y="9149"/>
                    </a:lnTo>
                    <a:lnTo>
                      <a:pt x="12715" y="8860"/>
                    </a:lnTo>
                    <a:lnTo>
                      <a:pt x="12715" y="8802"/>
                    </a:lnTo>
                    <a:lnTo>
                      <a:pt x="12754" y="8744"/>
                    </a:lnTo>
                    <a:lnTo>
                      <a:pt x="12715" y="8628"/>
                    </a:lnTo>
                    <a:lnTo>
                      <a:pt x="12715" y="8570"/>
                    </a:lnTo>
                    <a:lnTo>
                      <a:pt x="12754" y="8512"/>
                    </a:lnTo>
                    <a:lnTo>
                      <a:pt x="12754" y="8454"/>
                    </a:lnTo>
                    <a:lnTo>
                      <a:pt x="12833" y="8454"/>
                    </a:lnTo>
                    <a:lnTo>
                      <a:pt x="12873" y="8396"/>
                    </a:lnTo>
                    <a:lnTo>
                      <a:pt x="12952" y="8454"/>
                    </a:lnTo>
                    <a:lnTo>
                      <a:pt x="13070" y="8454"/>
                    </a:lnTo>
                    <a:lnTo>
                      <a:pt x="13228" y="8570"/>
                    </a:lnTo>
                    <a:lnTo>
                      <a:pt x="13268" y="8570"/>
                    </a:lnTo>
                    <a:lnTo>
                      <a:pt x="13307" y="8628"/>
                    </a:lnTo>
                    <a:lnTo>
                      <a:pt x="13386" y="8454"/>
                    </a:lnTo>
                    <a:lnTo>
                      <a:pt x="13465" y="8165"/>
                    </a:lnTo>
                    <a:lnTo>
                      <a:pt x="13465" y="7701"/>
                    </a:lnTo>
                    <a:lnTo>
                      <a:pt x="13504" y="7238"/>
                    </a:lnTo>
                    <a:lnTo>
                      <a:pt x="13623" y="6891"/>
                    </a:lnTo>
                    <a:lnTo>
                      <a:pt x="13781" y="6659"/>
                    </a:lnTo>
                    <a:lnTo>
                      <a:pt x="13820" y="6543"/>
                    </a:lnTo>
                    <a:lnTo>
                      <a:pt x="13860" y="6369"/>
                    </a:lnTo>
                    <a:lnTo>
                      <a:pt x="13899" y="6312"/>
                    </a:lnTo>
                    <a:lnTo>
                      <a:pt x="13899" y="6254"/>
                    </a:lnTo>
                    <a:lnTo>
                      <a:pt x="13860" y="6196"/>
                    </a:lnTo>
                    <a:lnTo>
                      <a:pt x="13820" y="6196"/>
                    </a:lnTo>
                    <a:lnTo>
                      <a:pt x="13781" y="6254"/>
                    </a:lnTo>
                    <a:lnTo>
                      <a:pt x="13189" y="5790"/>
                    </a:lnTo>
                    <a:lnTo>
                      <a:pt x="13189" y="5675"/>
                    </a:lnTo>
                    <a:lnTo>
                      <a:pt x="13228" y="5675"/>
                    </a:lnTo>
                    <a:lnTo>
                      <a:pt x="13268" y="5617"/>
                    </a:lnTo>
                    <a:lnTo>
                      <a:pt x="13425" y="5617"/>
                    </a:lnTo>
                    <a:lnTo>
                      <a:pt x="13504" y="5675"/>
                    </a:lnTo>
                    <a:lnTo>
                      <a:pt x="13662" y="5675"/>
                    </a:lnTo>
                    <a:lnTo>
                      <a:pt x="13702" y="5732"/>
                    </a:lnTo>
                    <a:lnTo>
                      <a:pt x="13741" y="5732"/>
                    </a:lnTo>
                    <a:lnTo>
                      <a:pt x="13820" y="5675"/>
                    </a:lnTo>
                    <a:lnTo>
                      <a:pt x="13899" y="5675"/>
                    </a:lnTo>
                    <a:lnTo>
                      <a:pt x="14018" y="5732"/>
                    </a:lnTo>
                    <a:lnTo>
                      <a:pt x="14136" y="5732"/>
                    </a:lnTo>
                    <a:lnTo>
                      <a:pt x="14215" y="5790"/>
                    </a:lnTo>
                    <a:lnTo>
                      <a:pt x="14294" y="5790"/>
                    </a:lnTo>
                    <a:lnTo>
                      <a:pt x="14334" y="5848"/>
                    </a:lnTo>
                    <a:lnTo>
                      <a:pt x="14452" y="5501"/>
                    </a:lnTo>
                    <a:lnTo>
                      <a:pt x="14571" y="5617"/>
                    </a:lnTo>
                    <a:lnTo>
                      <a:pt x="14768" y="5617"/>
                    </a:lnTo>
                    <a:lnTo>
                      <a:pt x="14847" y="5559"/>
                    </a:lnTo>
                    <a:lnTo>
                      <a:pt x="14887" y="5501"/>
                    </a:lnTo>
                    <a:lnTo>
                      <a:pt x="14926" y="5501"/>
                    </a:lnTo>
                    <a:lnTo>
                      <a:pt x="15123" y="4922"/>
                    </a:lnTo>
                    <a:lnTo>
                      <a:pt x="15202" y="4864"/>
                    </a:lnTo>
                    <a:lnTo>
                      <a:pt x="15242" y="4806"/>
                    </a:lnTo>
                    <a:lnTo>
                      <a:pt x="15242" y="4690"/>
                    </a:lnTo>
                    <a:lnTo>
                      <a:pt x="15281" y="4516"/>
                    </a:lnTo>
                    <a:lnTo>
                      <a:pt x="15281" y="4401"/>
                    </a:lnTo>
                    <a:lnTo>
                      <a:pt x="15202" y="4053"/>
                    </a:lnTo>
                    <a:lnTo>
                      <a:pt x="15163" y="3995"/>
                    </a:lnTo>
                    <a:lnTo>
                      <a:pt x="15084" y="3937"/>
                    </a:lnTo>
                    <a:lnTo>
                      <a:pt x="15044" y="3879"/>
                    </a:lnTo>
                    <a:lnTo>
                      <a:pt x="14965" y="3821"/>
                    </a:lnTo>
                    <a:lnTo>
                      <a:pt x="14926" y="3706"/>
                    </a:lnTo>
                    <a:lnTo>
                      <a:pt x="14926" y="3474"/>
                    </a:lnTo>
                    <a:lnTo>
                      <a:pt x="14965" y="3416"/>
                    </a:lnTo>
                    <a:lnTo>
                      <a:pt x="15084" y="3300"/>
                    </a:lnTo>
                    <a:lnTo>
                      <a:pt x="15202" y="3300"/>
                    </a:lnTo>
                    <a:lnTo>
                      <a:pt x="15281" y="3184"/>
                    </a:lnTo>
                    <a:lnTo>
                      <a:pt x="15281" y="2953"/>
                    </a:lnTo>
                    <a:lnTo>
                      <a:pt x="15202" y="2837"/>
                    </a:lnTo>
                    <a:lnTo>
                      <a:pt x="15123" y="2779"/>
                    </a:lnTo>
                    <a:lnTo>
                      <a:pt x="15084" y="2721"/>
                    </a:lnTo>
                    <a:lnTo>
                      <a:pt x="15044" y="2721"/>
                    </a:lnTo>
                    <a:lnTo>
                      <a:pt x="15005" y="2779"/>
                    </a:lnTo>
                    <a:lnTo>
                      <a:pt x="14965" y="2084"/>
                    </a:lnTo>
                    <a:lnTo>
                      <a:pt x="14887" y="2142"/>
                    </a:lnTo>
                    <a:lnTo>
                      <a:pt x="14689" y="2142"/>
                    </a:lnTo>
                    <a:lnTo>
                      <a:pt x="14531" y="2026"/>
                    </a:lnTo>
                    <a:lnTo>
                      <a:pt x="14413" y="2026"/>
                    </a:lnTo>
                    <a:lnTo>
                      <a:pt x="14492" y="2895"/>
                    </a:lnTo>
                    <a:lnTo>
                      <a:pt x="14373" y="3069"/>
                    </a:lnTo>
                    <a:lnTo>
                      <a:pt x="14334" y="3242"/>
                    </a:lnTo>
                    <a:lnTo>
                      <a:pt x="14255" y="3474"/>
                    </a:lnTo>
                    <a:lnTo>
                      <a:pt x="14176" y="3821"/>
                    </a:lnTo>
                    <a:lnTo>
                      <a:pt x="14176" y="3879"/>
                    </a:lnTo>
                    <a:lnTo>
                      <a:pt x="14097" y="3995"/>
                    </a:lnTo>
                    <a:lnTo>
                      <a:pt x="14018" y="4053"/>
                    </a:lnTo>
                    <a:lnTo>
                      <a:pt x="13978" y="3995"/>
                    </a:lnTo>
                    <a:lnTo>
                      <a:pt x="13899" y="3937"/>
                    </a:lnTo>
                    <a:lnTo>
                      <a:pt x="13820" y="3821"/>
                    </a:lnTo>
                    <a:lnTo>
                      <a:pt x="13741" y="2837"/>
                    </a:lnTo>
                    <a:lnTo>
                      <a:pt x="13702" y="2779"/>
                    </a:lnTo>
                    <a:lnTo>
                      <a:pt x="13702" y="2721"/>
                    </a:lnTo>
                    <a:lnTo>
                      <a:pt x="13662" y="2663"/>
                    </a:lnTo>
                    <a:lnTo>
                      <a:pt x="13662" y="2721"/>
                    </a:lnTo>
                    <a:lnTo>
                      <a:pt x="13623" y="2779"/>
                    </a:lnTo>
                    <a:lnTo>
                      <a:pt x="13583" y="2953"/>
                    </a:lnTo>
                    <a:lnTo>
                      <a:pt x="13544" y="3011"/>
                    </a:lnTo>
                    <a:lnTo>
                      <a:pt x="13544" y="3069"/>
                    </a:lnTo>
                    <a:lnTo>
                      <a:pt x="13346" y="3358"/>
                    </a:lnTo>
                    <a:lnTo>
                      <a:pt x="13307" y="3358"/>
                    </a:lnTo>
                    <a:lnTo>
                      <a:pt x="13268" y="3300"/>
                    </a:lnTo>
                    <a:lnTo>
                      <a:pt x="13228" y="3184"/>
                    </a:lnTo>
                    <a:lnTo>
                      <a:pt x="13228" y="2837"/>
                    </a:lnTo>
                    <a:lnTo>
                      <a:pt x="13189" y="2779"/>
                    </a:lnTo>
                    <a:lnTo>
                      <a:pt x="13149" y="2779"/>
                    </a:lnTo>
                    <a:lnTo>
                      <a:pt x="13110" y="2837"/>
                    </a:lnTo>
                    <a:lnTo>
                      <a:pt x="13070" y="2837"/>
                    </a:lnTo>
                    <a:lnTo>
                      <a:pt x="13031" y="2895"/>
                    </a:lnTo>
                    <a:lnTo>
                      <a:pt x="12912" y="2895"/>
                    </a:lnTo>
                    <a:lnTo>
                      <a:pt x="12873" y="2837"/>
                    </a:lnTo>
                    <a:lnTo>
                      <a:pt x="12794" y="2779"/>
                    </a:lnTo>
                    <a:lnTo>
                      <a:pt x="12715" y="2663"/>
                    </a:lnTo>
                    <a:lnTo>
                      <a:pt x="12715" y="2605"/>
                    </a:lnTo>
                    <a:lnTo>
                      <a:pt x="12754" y="2547"/>
                    </a:lnTo>
                    <a:lnTo>
                      <a:pt x="12833" y="2200"/>
                    </a:lnTo>
                    <a:lnTo>
                      <a:pt x="12833" y="1679"/>
                    </a:lnTo>
                    <a:lnTo>
                      <a:pt x="12794" y="1621"/>
                    </a:lnTo>
                    <a:lnTo>
                      <a:pt x="12715" y="1389"/>
                    </a:lnTo>
                    <a:lnTo>
                      <a:pt x="12715" y="1216"/>
                    </a:lnTo>
                    <a:lnTo>
                      <a:pt x="12675" y="984"/>
                    </a:lnTo>
                    <a:lnTo>
                      <a:pt x="12596" y="752"/>
                    </a:lnTo>
                    <a:lnTo>
                      <a:pt x="12478" y="463"/>
                    </a:lnTo>
                    <a:lnTo>
                      <a:pt x="12320" y="231"/>
                    </a:lnTo>
                    <a:lnTo>
                      <a:pt x="12280" y="57"/>
                    </a:lnTo>
                    <a:lnTo>
                      <a:pt x="12241" y="0"/>
                    </a:lnTo>
                    <a:lnTo>
                      <a:pt x="12122" y="0"/>
                    </a:lnTo>
                    <a:lnTo>
                      <a:pt x="12043" y="115"/>
                    </a:lnTo>
                    <a:lnTo>
                      <a:pt x="12004" y="115"/>
                    </a:lnTo>
                    <a:lnTo>
                      <a:pt x="11925" y="173"/>
                    </a:lnTo>
                    <a:lnTo>
                      <a:pt x="11925" y="289"/>
                    </a:lnTo>
                    <a:lnTo>
                      <a:pt x="11885" y="405"/>
                    </a:lnTo>
                    <a:lnTo>
                      <a:pt x="11885" y="579"/>
                    </a:lnTo>
                    <a:lnTo>
                      <a:pt x="11846" y="636"/>
                    </a:lnTo>
                    <a:lnTo>
                      <a:pt x="11846" y="694"/>
                    </a:lnTo>
                    <a:lnTo>
                      <a:pt x="11727" y="810"/>
                    </a:lnTo>
                    <a:lnTo>
                      <a:pt x="11648" y="984"/>
                    </a:lnTo>
                    <a:lnTo>
                      <a:pt x="11609" y="1158"/>
                    </a:lnTo>
                    <a:lnTo>
                      <a:pt x="11609" y="1505"/>
                    </a:lnTo>
                    <a:lnTo>
                      <a:pt x="11648" y="1968"/>
                    </a:lnTo>
                    <a:lnTo>
                      <a:pt x="11806" y="2258"/>
                    </a:lnTo>
                    <a:lnTo>
                      <a:pt x="11964" y="2432"/>
                    </a:lnTo>
                    <a:lnTo>
                      <a:pt x="12083" y="2490"/>
                    </a:lnTo>
                    <a:lnTo>
                      <a:pt x="12162" y="2547"/>
                    </a:lnTo>
                    <a:lnTo>
                      <a:pt x="12043" y="2663"/>
                    </a:lnTo>
                    <a:lnTo>
                      <a:pt x="12004" y="2837"/>
                    </a:lnTo>
                    <a:lnTo>
                      <a:pt x="12004" y="2953"/>
                    </a:lnTo>
                    <a:lnTo>
                      <a:pt x="12043" y="3069"/>
                    </a:lnTo>
                    <a:lnTo>
                      <a:pt x="12201" y="3300"/>
                    </a:lnTo>
                    <a:lnTo>
                      <a:pt x="12280" y="3300"/>
                    </a:lnTo>
                    <a:lnTo>
                      <a:pt x="12320" y="3358"/>
                    </a:lnTo>
                    <a:lnTo>
                      <a:pt x="12399" y="3416"/>
                    </a:lnTo>
                    <a:lnTo>
                      <a:pt x="12438" y="3474"/>
                    </a:lnTo>
                    <a:lnTo>
                      <a:pt x="12438" y="3706"/>
                    </a:lnTo>
                    <a:lnTo>
                      <a:pt x="12320" y="3879"/>
                    </a:lnTo>
                    <a:lnTo>
                      <a:pt x="12122" y="4053"/>
                    </a:lnTo>
                    <a:lnTo>
                      <a:pt x="11964" y="4227"/>
                    </a:lnTo>
                    <a:lnTo>
                      <a:pt x="11727" y="4401"/>
                    </a:lnTo>
                    <a:lnTo>
                      <a:pt x="11609" y="4343"/>
                    </a:lnTo>
                    <a:lnTo>
                      <a:pt x="11491" y="4343"/>
                    </a:lnTo>
                    <a:lnTo>
                      <a:pt x="11491" y="4285"/>
                    </a:lnTo>
                    <a:lnTo>
                      <a:pt x="11530" y="3590"/>
                    </a:lnTo>
                    <a:lnTo>
                      <a:pt x="10977" y="3590"/>
                    </a:lnTo>
                    <a:lnTo>
                      <a:pt x="10898" y="3706"/>
                    </a:lnTo>
                    <a:lnTo>
                      <a:pt x="10938" y="3995"/>
                    </a:lnTo>
                    <a:lnTo>
                      <a:pt x="10938" y="4169"/>
                    </a:lnTo>
                    <a:lnTo>
                      <a:pt x="10898" y="4285"/>
                    </a:lnTo>
                    <a:lnTo>
                      <a:pt x="10898" y="4401"/>
                    </a:lnTo>
                    <a:lnTo>
                      <a:pt x="10740" y="4401"/>
                    </a:lnTo>
                    <a:lnTo>
                      <a:pt x="10740" y="4343"/>
                    </a:lnTo>
                    <a:lnTo>
                      <a:pt x="10701" y="4343"/>
                    </a:lnTo>
                    <a:lnTo>
                      <a:pt x="10582" y="4227"/>
                    </a:lnTo>
                    <a:lnTo>
                      <a:pt x="10503" y="4169"/>
                    </a:lnTo>
                    <a:lnTo>
                      <a:pt x="10385" y="4169"/>
                    </a:lnTo>
                    <a:lnTo>
                      <a:pt x="10306" y="4285"/>
                    </a:lnTo>
                    <a:lnTo>
                      <a:pt x="10187" y="4401"/>
                    </a:lnTo>
                    <a:lnTo>
                      <a:pt x="10108" y="4458"/>
                    </a:lnTo>
                    <a:lnTo>
                      <a:pt x="9990" y="4458"/>
                    </a:lnTo>
                    <a:lnTo>
                      <a:pt x="9872" y="4285"/>
                    </a:lnTo>
                    <a:lnTo>
                      <a:pt x="9872" y="4227"/>
                    </a:lnTo>
                    <a:lnTo>
                      <a:pt x="9832" y="4053"/>
                    </a:lnTo>
                    <a:lnTo>
                      <a:pt x="9714" y="3879"/>
                    </a:lnTo>
                    <a:lnTo>
                      <a:pt x="9556" y="3879"/>
                    </a:lnTo>
                    <a:lnTo>
                      <a:pt x="9516" y="3937"/>
                    </a:lnTo>
                    <a:lnTo>
                      <a:pt x="9358" y="3821"/>
                    </a:lnTo>
                    <a:lnTo>
                      <a:pt x="9240" y="3764"/>
                    </a:lnTo>
                    <a:lnTo>
                      <a:pt x="9200" y="3648"/>
                    </a:lnTo>
                    <a:lnTo>
                      <a:pt x="9161" y="3590"/>
                    </a:lnTo>
                    <a:lnTo>
                      <a:pt x="9161" y="3474"/>
                    </a:lnTo>
                    <a:lnTo>
                      <a:pt x="9121" y="3300"/>
                    </a:lnTo>
                    <a:lnTo>
                      <a:pt x="9082" y="3184"/>
                    </a:lnTo>
                    <a:lnTo>
                      <a:pt x="9042" y="3127"/>
                    </a:lnTo>
                    <a:lnTo>
                      <a:pt x="8924" y="3127"/>
                    </a:lnTo>
                    <a:lnTo>
                      <a:pt x="8884" y="3184"/>
                    </a:lnTo>
                    <a:lnTo>
                      <a:pt x="8687" y="3184"/>
                    </a:lnTo>
                    <a:lnTo>
                      <a:pt x="8568" y="3242"/>
                    </a:lnTo>
                    <a:lnTo>
                      <a:pt x="8410" y="3358"/>
                    </a:lnTo>
                    <a:lnTo>
                      <a:pt x="8371" y="3474"/>
                    </a:lnTo>
                    <a:lnTo>
                      <a:pt x="8371" y="3937"/>
                    </a:lnTo>
                    <a:lnTo>
                      <a:pt x="8450" y="3995"/>
                    </a:lnTo>
                    <a:lnTo>
                      <a:pt x="8489" y="4111"/>
                    </a:lnTo>
                    <a:lnTo>
                      <a:pt x="8489" y="4169"/>
                    </a:lnTo>
                    <a:lnTo>
                      <a:pt x="8450" y="4285"/>
                    </a:lnTo>
                    <a:lnTo>
                      <a:pt x="8410" y="4343"/>
                    </a:lnTo>
                    <a:lnTo>
                      <a:pt x="8410" y="4401"/>
                    </a:lnTo>
                    <a:lnTo>
                      <a:pt x="8371" y="4401"/>
                    </a:lnTo>
                    <a:lnTo>
                      <a:pt x="8371" y="5153"/>
                    </a:lnTo>
                    <a:lnTo>
                      <a:pt x="8331" y="5269"/>
                    </a:lnTo>
                    <a:lnTo>
                      <a:pt x="8331" y="5385"/>
                    </a:lnTo>
                    <a:lnTo>
                      <a:pt x="8292" y="5385"/>
                    </a:lnTo>
                    <a:lnTo>
                      <a:pt x="8174" y="4980"/>
                    </a:lnTo>
                    <a:lnTo>
                      <a:pt x="8016" y="4574"/>
                    </a:lnTo>
                    <a:lnTo>
                      <a:pt x="7897" y="4169"/>
                    </a:lnTo>
                    <a:lnTo>
                      <a:pt x="7739" y="3937"/>
                    </a:lnTo>
                    <a:lnTo>
                      <a:pt x="7660" y="4053"/>
                    </a:lnTo>
                    <a:lnTo>
                      <a:pt x="7621" y="4169"/>
                    </a:lnTo>
                    <a:lnTo>
                      <a:pt x="7621" y="4285"/>
                    </a:lnTo>
                    <a:lnTo>
                      <a:pt x="7581" y="4343"/>
                    </a:lnTo>
                    <a:lnTo>
                      <a:pt x="7581" y="4401"/>
                    </a:lnTo>
                    <a:lnTo>
                      <a:pt x="7502" y="4285"/>
                    </a:lnTo>
                    <a:lnTo>
                      <a:pt x="7147" y="4285"/>
                    </a:lnTo>
                    <a:lnTo>
                      <a:pt x="7068" y="4343"/>
                    </a:lnTo>
                    <a:lnTo>
                      <a:pt x="6870" y="4343"/>
                    </a:lnTo>
                    <a:lnTo>
                      <a:pt x="6752" y="4285"/>
                    </a:lnTo>
                    <a:lnTo>
                      <a:pt x="6712" y="4285"/>
                    </a:lnTo>
                    <a:lnTo>
                      <a:pt x="6634" y="4169"/>
                    </a:lnTo>
                    <a:lnTo>
                      <a:pt x="6634" y="4111"/>
                    </a:lnTo>
                    <a:lnTo>
                      <a:pt x="6673" y="4053"/>
                    </a:lnTo>
                    <a:lnTo>
                      <a:pt x="6712" y="4053"/>
                    </a:lnTo>
                    <a:lnTo>
                      <a:pt x="6752" y="3995"/>
                    </a:lnTo>
                    <a:lnTo>
                      <a:pt x="6831" y="3764"/>
                    </a:lnTo>
                    <a:lnTo>
                      <a:pt x="6910" y="3590"/>
                    </a:lnTo>
                    <a:lnTo>
                      <a:pt x="6910" y="3358"/>
                    </a:lnTo>
                    <a:lnTo>
                      <a:pt x="6870" y="3242"/>
                    </a:lnTo>
                    <a:lnTo>
                      <a:pt x="6791" y="3127"/>
                    </a:lnTo>
                    <a:lnTo>
                      <a:pt x="6752" y="3127"/>
                    </a:lnTo>
                    <a:lnTo>
                      <a:pt x="6712" y="3069"/>
                    </a:lnTo>
                    <a:lnTo>
                      <a:pt x="6594" y="2953"/>
                    </a:lnTo>
                    <a:lnTo>
                      <a:pt x="6515" y="2837"/>
                    </a:lnTo>
                    <a:lnTo>
                      <a:pt x="6476" y="2837"/>
                    </a:lnTo>
                    <a:lnTo>
                      <a:pt x="6476" y="2895"/>
                    </a:lnTo>
                    <a:lnTo>
                      <a:pt x="6436" y="2895"/>
                    </a:lnTo>
                    <a:lnTo>
                      <a:pt x="6436" y="3011"/>
                    </a:lnTo>
                    <a:lnTo>
                      <a:pt x="6476" y="3011"/>
                    </a:lnTo>
                    <a:lnTo>
                      <a:pt x="6476" y="3184"/>
                    </a:lnTo>
                    <a:lnTo>
                      <a:pt x="6436" y="3242"/>
                    </a:lnTo>
                    <a:lnTo>
                      <a:pt x="6436" y="3300"/>
                    </a:lnTo>
                    <a:lnTo>
                      <a:pt x="6397" y="3300"/>
                    </a:lnTo>
                    <a:lnTo>
                      <a:pt x="6357" y="3242"/>
                    </a:lnTo>
                    <a:lnTo>
                      <a:pt x="6318" y="3242"/>
                    </a:lnTo>
                    <a:lnTo>
                      <a:pt x="6239" y="3127"/>
                    </a:lnTo>
                    <a:lnTo>
                      <a:pt x="5883" y="2721"/>
                    </a:lnTo>
                    <a:lnTo>
                      <a:pt x="5567" y="2432"/>
                    </a:lnTo>
                    <a:lnTo>
                      <a:pt x="5291" y="2258"/>
                    </a:lnTo>
                    <a:lnTo>
                      <a:pt x="5172" y="2200"/>
                    </a:lnTo>
                    <a:lnTo>
                      <a:pt x="4975" y="2142"/>
                    </a:lnTo>
                    <a:lnTo>
                      <a:pt x="4817" y="2084"/>
                    </a:lnTo>
                    <a:lnTo>
                      <a:pt x="4659" y="1968"/>
                    </a:lnTo>
                    <a:lnTo>
                      <a:pt x="4620" y="1910"/>
                    </a:lnTo>
                    <a:lnTo>
                      <a:pt x="4580" y="1910"/>
                    </a:lnTo>
                    <a:lnTo>
                      <a:pt x="4501" y="1795"/>
                    </a:lnTo>
                    <a:lnTo>
                      <a:pt x="4383" y="1795"/>
                    </a:lnTo>
                    <a:lnTo>
                      <a:pt x="4383" y="1853"/>
                    </a:lnTo>
                    <a:lnTo>
                      <a:pt x="4343" y="1910"/>
                    </a:lnTo>
                    <a:lnTo>
                      <a:pt x="4343" y="2084"/>
                    </a:lnTo>
                    <a:lnTo>
                      <a:pt x="4383" y="2142"/>
                    </a:lnTo>
                    <a:lnTo>
                      <a:pt x="4383" y="2200"/>
                    </a:lnTo>
                    <a:lnTo>
                      <a:pt x="4343" y="2316"/>
                    </a:lnTo>
                    <a:lnTo>
                      <a:pt x="4264" y="2432"/>
                    </a:lnTo>
                    <a:lnTo>
                      <a:pt x="4225" y="2374"/>
                    </a:lnTo>
                    <a:lnTo>
                      <a:pt x="4185" y="2374"/>
                    </a:lnTo>
                    <a:lnTo>
                      <a:pt x="4185" y="2316"/>
                    </a:lnTo>
                    <a:lnTo>
                      <a:pt x="4106" y="2084"/>
                    </a:lnTo>
                    <a:lnTo>
                      <a:pt x="3948" y="1737"/>
                    </a:lnTo>
                    <a:lnTo>
                      <a:pt x="3830" y="1505"/>
                    </a:lnTo>
                    <a:lnTo>
                      <a:pt x="3672" y="1273"/>
                    </a:lnTo>
                    <a:lnTo>
                      <a:pt x="3553" y="1273"/>
                    </a:lnTo>
                    <a:lnTo>
                      <a:pt x="3514" y="1331"/>
                    </a:lnTo>
                    <a:lnTo>
                      <a:pt x="3553" y="1389"/>
                    </a:lnTo>
                    <a:lnTo>
                      <a:pt x="3553" y="1505"/>
                    </a:lnTo>
                    <a:lnTo>
                      <a:pt x="3593" y="1563"/>
                    </a:lnTo>
                    <a:lnTo>
                      <a:pt x="3593" y="1621"/>
                    </a:lnTo>
                    <a:lnTo>
                      <a:pt x="3553" y="1795"/>
                    </a:lnTo>
                    <a:lnTo>
                      <a:pt x="3514" y="1910"/>
                    </a:lnTo>
                    <a:lnTo>
                      <a:pt x="3474" y="1968"/>
                    </a:lnTo>
                    <a:lnTo>
                      <a:pt x="3435" y="1968"/>
                    </a:lnTo>
                    <a:lnTo>
                      <a:pt x="3356" y="1910"/>
                    </a:lnTo>
                    <a:lnTo>
                      <a:pt x="3277" y="1795"/>
                    </a:lnTo>
                    <a:lnTo>
                      <a:pt x="3277" y="1737"/>
                    </a:lnTo>
                    <a:lnTo>
                      <a:pt x="3198" y="1679"/>
                    </a:lnTo>
                    <a:lnTo>
                      <a:pt x="3080" y="1679"/>
                    </a:lnTo>
                    <a:lnTo>
                      <a:pt x="3001" y="1737"/>
                    </a:lnTo>
                    <a:lnTo>
                      <a:pt x="2961" y="1795"/>
                    </a:lnTo>
                    <a:lnTo>
                      <a:pt x="2961" y="1853"/>
                    </a:lnTo>
                    <a:lnTo>
                      <a:pt x="2922" y="1910"/>
                    </a:lnTo>
                    <a:lnTo>
                      <a:pt x="2843" y="1968"/>
                    </a:lnTo>
                    <a:lnTo>
                      <a:pt x="2803" y="2084"/>
                    </a:lnTo>
                    <a:lnTo>
                      <a:pt x="2724" y="2142"/>
                    </a:lnTo>
                    <a:lnTo>
                      <a:pt x="2685" y="2200"/>
                    </a:lnTo>
                    <a:lnTo>
                      <a:pt x="2645" y="2200"/>
                    </a:lnTo>
                    <a:lnTo>
                      <a:pt x="2448" y="2258"/>
                    </a:lnTo>
                    <a:lnTo>
                      <a:pt x="2211" y="2432"/>
                    </a:lnTo>
                    <a:lnTo>
                      <a:pt x="2013" y="2663"/>
                    </a:lnTo>
                    <a:lnTo>
                      <a:pt x="1895" y="2837"/>
                    </a:lnTo>
                    <a:lnTo>
                      <a:pt x="1816" y="2895"/>
                    </a:lnTo>
                    <a:lnTo>
                      <a:pt x="1579" y="3127"/>
                    </a:lnTo>
                    <a:lnTo>
                      <a:pt x="1342" y="3127"/>
                    </a:lnTo>
                    <a:lnTo>
                      <a:pt x="1184" y="2895"/>
                    </a:lnTo>
                    <a:lnTo>
                      <a:pt x="1026" y="2721"/>
                    </a:lnTo>
                    <a:lnTo>
                      <a:pt x="829" y="2547"/>
                    </a:lnTo>
                    <a:lnTo>
                      <a:pt x="671" y="2432"/>
                    </a:lnTo>
                    <a:lnTo>
                      <a:pt x="631" y="2374"/>
                    </a:lnTo>
                    <a:lnTo>
                      <a:pt x="434" y="2316"/>
                    </a:lnTo>
                    <a:lnTo>
                      <a:pt x="39" y="2084"/>
                    </a:lnTo>
                    <a:lnTo>
                      <a:pt x="0" y="2084"/>
                    </a:lnTo>
                    <a:lnTo>
                      <a:pt x="0" y="10539"/>
                    </a:lnTo>
                    <a:lnTo>
                      <a:pt x="236" y="10539"/>
                    </a:lnTo>
                    <a:lnTo>
                      <a:pt x="394" y="10713"/>
                    </a:lnTo>
                    <a:lnTo>
                      <a:pt x="592" y="10886"/>
                    </a:lnTo>
                    <a:lnTo>
                      <a:pt x="987" y="11350"/>
                    </a:lnTo>
                    <a:lnTo>
                      <a:pt x="1145" y="11523"/>
                    </a:lnTo>
                    <a:lnTo>
                      <a:pt x="1184" y="11581"/>
                    </a:lnTo>
                    <a:lnTo>
                      <a:pt x="1263" y="11581"/>
                    </a:lnTo>
                    <a:lnTo>
                      <a:pt x="1382" y="11465"/>
                    </a:lnTo>
                    <a:lnTo>
                      <a:pt x="1461" y="11408"/>
                    </a:lnTo>
                    <a:lnTo>
                      <a:pt x="1579" y="11234"/>
                    </a:lnTo>
                    <a:lnTo>
                      <a:pt x="1619" y="11234"/>
                    </a:lnTo>
                    <a:lnTo>
                      <a:pt x="1737" y="11350"/>
                    </a:lnTo>
                    <a:lnTo>
                      <a:pt x="1895" y="11639"/>
                    </a:lnTo>
                    <a:lnTo>
                      <a:pt x="2092" y="11987"/>
                    </a:lnTo>
                    <a:lnTo>
                      <a:pt x="2290" y="12392"/>
                    </a:lnTo>
                    <a:lnTo>
                      <a:pt x="2448" y="12739"/>
                    </a:lnTo>
                    <a:lnTo>
                      <a:pt x="2566" y="12971"/>
                    </a:lnTo>
                    <a:lnTo>
                      <a:pt x="2685" y="13319"/>
                    </a:lnTo>
                    <a:lnTo>
                      <a:pt x="2764" y="13492"/>
                    </a:lnTo>
                    <a:lnTo>
                      <a:pt x="3001" y="13840"/>
                    </a:lnTo>
                    <a:lnTo>
                      <a:pt x="3040" y="13840"/>
                    </a:lnTo>
                    <a:lnTo>
                      <a:pt x="3040" y="14071"/>
                    </a:lnTo>
                    <a:lnTo>
                      <a:pt x="3001" y="14361"/>
                    </a:lnTo>
                    <a:lnTo>
                      <a:pt x="2961" y="14708"/>
                    </a:lnTo>
                    <a:lnTo>
                      <a:pt x="2922" y="14940"/>
                    </a:lnTo>
                    <a:lnTo>
                      <a:pt x="2882" y="15056"/>
                    </a:lnTo>
                    <a:lnTo>
                      <a:pt x="2882" y="15403"/>
                    </a:lnTo>
                    <a:lnTo>
                      <a:pt x="2922" y="15519"/>
                    </a:lnTo>
                    <a:lnTo>
                      <a:pt x="2961" y="15577"/>
                    </a:lnTo>
                    <a:lnTo>
                      <a:pt x="2961" y="15635"/>
                    </a:lnTo>
                    <a:lnTo>
                      <a:pt x="3080" y="15693"/>
                    </a:lnTo>
                    <a:lnTo>
                      <a:pt x="3159" y="15867"/>
                    </a:lnTo>
                    <a:lnTo>
                      <a:pt x="3238" y="15982"/>
                    </a:lnTo>
                    <a:lnTo>
                      <a:pt x="3277" y="16156"/>
                    </a:lnTo>
                    <a:lnTo>
                      <a:pt x="3317" y="16272"/>
                    </a:lnTo>
                    <a:lnTo>
                      <a:pt x="3356" y="16446"/>
                    </a:lnTo>
                    <a:lnTo>
                      <a:pt x="3395" y="16504"/>
                    </a:lnTo>
                    <a:lnTo>
                      <a:pt x="3395" y="16561"/>
                    </a:lnTo>
                    <a:lnTo>
                      <a:pt x="3711" y="16909"/>
                    </a:lnTo>
                    <a:lnTo>
                      <a:pt x="3948" y="17198"/>
                    </a:lnTo>
                    <a:lnTo>
                      <a:pt x="4146" y="17314"/>
                    </a:lnTo>
                    <a:lnTo>
                      <a:pt x="4225" y="17372"/>
                    </a:lnTo>
                    <a:lnTo>
                      <a:pt x="4343" y="17546"/>
                    </a:lnTo>
                    <a:lnTo>
                      <a:pt x="4501" y="17893"/>
                    </a:lnTo>
                    <a:lnTo>
                      <a:pt x="4541" y="18009"/>
                    </a:lnTo>
                    <a:lnTo>
                      <a:pt x="4541" y="18125"/>
                    </a:lnTo>
                    <a:lnTo>
                      <a:pt x="11688" y="18125"/>
                    </a:lnTo>
                    <a:lnTo>
                      <a:pt x="11925" y="18415"/>
                    </a:lnTo>
                    <a:lnTo>
                      <a:pt x="12399" y="18472"/>
                    </a:lnTo>
                    <a:lnTo>
                      <a:pt x="12438" y="18588"/>
                    </a:lnTo>
                    <a:lnTo>
                      <a:pt x="12596" y="18704"/>
                    </a:lnTo>
                    <a:lnTo>
                      <a:pt x="12754" y="18704"/>
                    </a:lnTo>
                    <a:lnTo>
                      <a:pt x="12991" y="18588"/>
                    </a:lnTo>
                    <a:lnTo>
                      <a:pt x="13149" y="18472"/>
                    </a:lnTo>
                    <a:lnTo>
                      <a:pt x="13189" y="18415"/>
                    </a:lnTo>
                    <a:lnTo>
                      <a:pt x="13189" y="18357"/>
                    </a:lnTo>
                    <a:lnTo>
                      <a:pt x="13465" y="18299"/>
                    </a:lnTo>
                    <a:lnTo>
                      <a:pt x="13702" y="18357"/>
                    </a:lnTo>
                    <a:lnTo>
                      <a:pt x="13860" y="18472"/>
                    </a:lnTo>
                    <a:lnTo>
                      <a:pt x="13939" y="18646"/>
                    </a:lnTo>
                    <a:lnTo>
                      <a:pt x="13978" y="18704"/>
                    </a:lnTo>
                    <a:lnTo>
                      <a:pt x="14136" y="18704"/>
                    </a:lnTo>
                    <a:lnTo>
                      <a:pt x="14294" y="18820"/>
                    </a:lnTo>
                    <a:lnTo>
                      <a:pt x="14334" y="18878"/>
                    </a:lnTo>
                    <a:lnTo>
                      <a:pt x="14334" y="18994"/>
                    </a:lnTo>
                    <a:lnTo>
                      <a:pt x="14294" y="19052"/>
                    </a:lnTo>
                    <a:lnTo>
                      <a:pt x="14294" y="19109"/>
                    </a:lnTo>
                    <a:lnTo>
                      <a:pt x="14334" y="19341"/>
                    </a:lnTo>
                    <a:lnTo>
                      <a:pt x="14373" y="19515"/>
                    </a:lnTo>
                    <a:lnTo>
                      <a:pt x="14768" y="19515"/>
                    </a:lnTo>
                    <a:lnTo>
                      <a:pt x="14847" y="19457"/>
                    </a:lnTo>
                    <a:lnTo>
                      <a:pt x="15044" y="19457"/>
                    </a:lnTo>
                    <a:lnTo>
                      <a:pt x="15163" y="19515"/>
                    </a:lnTo>
                    <a:lnTo>
                      <a:pt x="15321" y="19631"/>
                    </a:lnTo>
                    <a:lnTo>
                      <a:pt x="15400" y="19746"/>
                    </a:lnTo>
                    <a:lnTo>
                      <a:pt x="15479" y="19804"/>
                    </a:lnTo>
                    <a:lnTo>
                      <a:pt x="15597" y="19978"/>
                    </a:lnTo>
                    <a:lnTo>
                      <a:pt x="15597" y="20036"/>
                    </a:lnTo>
                    <a:lnTo>
                      <a:pt x="15558" y="20094"/>
                    </a:lnTo>
                    <a:lnTo>
                      <a:pt x="15597" y="20210"/>
                    </a:lnTo>
                    <a:lnTo>
                      <a:pt x="15479" y="20383"/>
                    </a:lnTo>
                    <a:lnTo>
                      <a:pt x="15400" y="20383"/>
                    </a:lnTo>
                    <a:lnTo>
                      <a:pt x="15360" y="20326"/>
                    </a:lnTo>
                    <a:lnTo>
                      <a:pt x="15202" y="20326"/>
                    </a:lnTo>
                    <a:lnTo>
                      <a:pt x="15084" y="20152"/>
                    </a:lnTo>
                    <a:lnTo>
                      <a:pt x="15123" y="20268"/>
                    </a:lnTo>
                    <a:lnTo>
                      <a:pt x="15123" y="20326"/>
                    </a:lnTo>
                    <a:lnTo>
                      <a:pt x="15163" y="20441"/>
                    </a:lnTo>
                    <a:lnTo>
                      <a:pt x="15123" y="20615"/>
                    </a:lnTo>
                    <a:lnTo>
                      <a:pt x="15123" y="20731"/>
                    </a:lnTo>
                    <a:lnTo>
                      <a:pt x="15044" y="20789"/>
                    </a:lnTo>
                    <a:lnTo>
                      <a:pt x="15005" y="20789"/>
                    </a:lnTo>
                    <a:lnTo>
                      <a:pt x="14847" y="20905"/>
                    </a:lnTo>
                    <a:lnTo>
                      <a:pt x="14808" y="20963"/>
                    </a:lnTo>
                    <a:lnTo>
                      <a:pt x="14808" y="21020"/>
                    </a:lnTo>
                    <a:lnTo>
                      <a:pt x="14847" y="21078"/>
                    </a:lnTo>
                    <a:lnTo>
                      <a:pt x="14847" y="21136"/>
                    </a:lnTo>
                    <a:lnTo>
                      <a:pt x="14887" y="21136"/>
                    </a:lnTo>
                    <a:lnTo>
                      <a:pt x="14926" y="21194"/>
                    </a:lnTo>
                    <a:lnTo>
                      <a:pt x="14965" y="21310"/>
                    </a:lnTo>
                    <a:lnTo>
                      <a:pt x="14926" y="21368"/>
                    </a:lnTo>
                    <a:lnTo>
                      <a:pt x="14926" y="21426"/>
                    </a:lnTo>
                    <a:lnTo>
                      <a:pt x="14887" y="21426"/>
                    </a:lnTo>
                    <a:lnTo>
                      <a:pt x="14768" y="21599"/>
                    </a:lnTo>
                    <a:lnTo>
                      <a:pt x="14887" y="21599"/>
                    </a:lnTo>
                    <a:lnTo>
                      <a:pt x="15005" y="21542"/>
                    </a:lnTo>
                    <a:lnTo>
                      <a:pt x="15202" y="21252"/>
                    </a:lnTo>
                    <a:lnTo>
                      <a:pt x="15202" y="21136"/>
                    </a:lnTo>
                    <a:lnTo>
                      <a:pt x="15242" y="21078"/>
                    </a:lnTo>
                    <a:lnTo>
                      <a:pt x="15281" y="20963"/>
                    </a:lnTo>
                    <a:lnTo>
                      <a:pt x="15321" y="20905"/>
                    </a:lnTo>
                    <a:lnTo>
                      <a:pt x="15795" y="20905"/>
                    </a:lnTo>
                    <a:lnTo>
                      <a:pt x="15755" y="20847"/>
                    </a:lnTo>
                    <a:lnTo>
                      <a:pt x="15755" y="20673"/>
                    </a:lnTo>
                    <a:lnTo>
                      <a:pt x="15874" y="20499"/>
                    </a:lnTo>
                    <a:lnTo>
                      <a:pt x="15913" y="20383"/>
                    </a:lnTo>
                    <a:lnTo>
                      <a:pt x="15992" y="20268"/>
                    </a:lnTo>
                    <a:lnTo>
                      <a:pt x="16071" y="20210"/>
                    </a:lnTo>
                    <a:lnTo>
                      <a:pt x="16190" y="20152"/>
                    </a:lnTo>
                    <a:lnTo>
                      <a:pt x="16545" y="20152"/>
                    </a:lnTo>
                    <a:lnTo>
                      <a:pt x="16585" y="20210"/>
                    </a:lnTo>
                    <a:lnTo>
                      <a:pt x="16624" y="20210"/>
                    </a:lnTo>
                    <a:lnTo>
                      <a:pt x="16703" y="20268"/>
                    </a:lnTo>
                    <a:lnTo>
                      <a:pt x="16742" y="20268"/>
                    </a:lnTo>
                    <a:lnTo>
                      <a:pt x="16782" y="2032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201" name="AutoShape 35"/>
              <p:cNvSpPr>
                <a:spLocks/>
              </p:cNvSpPr>
              <p:nvPr/>
            </p:nvSpPr>
            <p:spPr bwMode="auto">
              <a:xfrm>
                <a:off x="0" y="445842"/>
                <a:ext cx="554038" cy="52041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4839" y="2168"/>
                    </a:moveTo>
                    <a:lnTo>
                      <a:pt x="14663" y="1995"/>
                    </a:lnTo>
                    <a:lnTo>
                      <a:pt x="14575" y="1995"/>
                    </a:lnTo>
                    <a:lnTo>
                      <a:pt x="14399" y="1908"/>
                    </a:lnTo>
                    <a:lnTo>
                      <a:pt x="13960" y="1908"/>
                    </a:lnTo>
                    <a:lnTo>
                      <a:pt x="13609" y="2081"/>
                    </a:lnTo>
                    <a:lnTo>
                      <a:pt x="13170" y="2081"/>
                    </a:lnTo>
                    <a:lnTo>
                      <a:pt x="12643" y="1908"/>
                    </a:lnTo>
                    <a:lnTo>
                      <a:pt x="12380" y="1734"/>
                    </a:lnTo>
                    <a:lnTo>
                      <a:pt x="11941" y="1734"/>
                    </a:lnTo>
                    <a:lnTo>
                      <a:pt x="11590" y="1561"/>
                    </a:lnTo>
                    <a:lnTo>
                      <a:pt x="11502" y="1387"/>
                    </a:lnTo>
                    <a:lnTo>
                      <a:pt x="11414" y="1301"/>
                    </a:lnTo>
                    <a:lnTo>
                      <a:pt x="11326" y="1301"/>
                    </a:lnTo>
                    <a:lnTo>
                      <a:pt x="10975" y="1127"/>
                    </a:lnTo>
                    <a:lnTo>
                      <a:pt x="10712" y="1127"/>
                    </a:lnTo>
                    <a:lnTo>
                      <a:pt x="10624" y="1040"/>
                    </a:lnTo>
                    <a:lnTo>
                      <a:pt x="10536" y="1040"/>
                    </a:lnTo>
                    <a:lnTo>
                      <a:pt x="10360" y="954"/>
                    </a:lnTo>
                    <a:lnTo>
                      <a:pt x="10273" y="867"/>
                    </a:lnTo>
                    <a:lnTo>
                      <a:pt x="10097" y="954"/>
                    </a:lnTo>
                    <a:lnTo>
                      <a:pt x="10009" y="1127"/>
                    </a:lnTo>
                    <a:lnTo>
                      <a:pt x="10097" y="1214"/>
                    </a:lnTo>
                    <a:lnTo>
                      <a:pt x="10097" y="1561"/>
                    </a:lnTo>
                    <a:lnTo>
                      <a:pt x="9834" y="1561"/>
                    </a:lnTo>
                    <a:lnTo>
                      <a:pt x="9131" y="867"/>
                    </a:lnTo>
                    <a:lnTo>
                      <a:pt x="8692" y="693"/>
                    </a:lnTo>
                    <a:lnTo>
                      <a:pt x="8253" y="433"/>
                    </a:lnTo>
                    <a:lnTo>
                      <a:pt x="7726" y="173"/>
                    </a:lnTo>
                    <a:lnTo>
                      <a:pt x="7551" y="173"/>
                    </a:lnTo>
                    <a:lnTo>
                      <a:pt x="7200" y="0"/>
                    </a:lnTo>
                    <a:lnTo>
                      <a:pt x="6585" y="0"/>
                    </a:lnTo>
                    <a:lnTo>
                      <a:pt x="5882" y="173"/>
                    </a:lnTo>
                    <a:lnTo>
                      <a:pt x="5619" y="346"/>
                    </a:lnTo>
                    <a:lnTo>
                      <a:pt x="5356" y="433"/>
                    </a:lnTo>
                    <a:lnTo>
                      <a:pt x="5180" y="520"/>
                    </a:lnTo>
                    <a:lnTo>
                      <a:pt x="4565" y="520"/>
                    </a:lnTo>
                    <a:lnTo>
                      <a:pt x="4390" y="607"/>
                    </a:lnTo>
                    <a:lnTo>
                      <a:pt x="4126" y="693"/>
                    </a:lnTo>
                    <a:lnTo>
                      <a:pt x="3863" y="867"/>
                    </a:lnTo>
                    <a:lnTo>
                      <a:pt x="3775" y="954"/>
                    </a:lnTo>
                    <a:lnTo>
                      <a:pt x="3687" y="1214"/>
                    </a:lnTo>
                    <a:lnTo>
                      <a:pt x="2985" y="2602"/>
                    </a:lnTo>
                    <a:lnTo>
                      <a:pt x="2546" y="3036"/>
                    </a:lnTo>
                    <a:lnTo>
                      <a:pt x="2195" y="3209"/>
                    </a:lnTo>
                    <a:lnTo>
                      <a:pt x="1668" y="3296"/>
                    </a:lnTo>
                    <a:lnTo>
                      <a:pt x="1229" y="3383"/>
                    </a:lnTo>
                    <a:lnTo>
                      <a:pt x="878" y="3643"/>
                    </a:lnTo>
                    <a:lnTo>
                      <a:pt x="790" y="3990"/>
                    </a:lnTo>
                    <a:lnTo>
                      <a:pt x="790" y="4250"/>
                    </a:lnTo>
                    <a:lnTo>
                      <a:pt x="965" y="4597"/>
                    </a:lnTo>
                    <a:lnTo>
                      <a:pt x="1141" y="4771"/>
                    </a:lnTo>
                    <a:lnTo>
                      <a:pt x="1404" y="4944"/>
                    </a:lnTo>
                    <a:lnTo>
                      <a:pt x="2107" y="5638"/>
                    </a:lnTo>
                    <a:lnTo>
                      <a:pt x="2634" y="6245"/>
                    </a:lnTo>
                    <a:lnTo>
                      <a:pt x="3073" y="6766"/>
                    </a:lnTo>
                    <a:lnTo>
                      <a:pt x="3336" y="7286"/>
                    </a:lnTo>
                    <a:lnTo>
                      <a:pt x="3160" y="7720"/>
                    </a:lnTo>
                    <a:lnTo>
                      <a:pt x="2985" y="7807"/>
                    </a:lnTo>
                    <a:lnTo>
                      <a:pt x="2721" y="7807"/>
                    </a:lnTo>
                    <a:lnTo>
                      <a:pt x="2370" y="7633"/>
                    </a:lnTo>
                    <a:lnTo>
                      <a:pt x="2282" y="7460"/>
                    </a:lnTo>
                    <a:lnTo>
                      <a:pt x="2195" y="7373"/>
                    </a:lnTo>
                    <a:lnTo>
                      <a:pt x="2019" y="7286"/>
                    </a:lnTo>
                    <a:lnTo>
                      <a:pt x="1492" y="7286"/>
                    </a:lnTo>
                    <a:lnTo>
                      <a:pt x="878" y="7460"/>
                    </a:lnTo>
                    <a:lnTo>
                      <a:pt x="351" y="7893"/>
                    </a:lnTo>
                    <a:lnTo>
                      <a:pt x="87" y="8327"/>
                    </a:lnTo>
                    <a:lnTo>
                      <a:pt x="0" y="8674"/>
                    </a:lnTo>
                    <a:lnTo>
                      <a:pt x="0" y="9021"/>
                    </a:lnTo>
                    <a:lnTo>
                      <a:pt x="351" y="9368"/>
                    </a:lnTo>
                    <a:lnTo>
                      <a:pt x="1141" y="9802"/>
                    </a:lnTo>
                    <a:lnTo>
                      <a:pt x="1931" y="10062"/>
                    </a:lnTo>
                    <a:lnTo>
                      <a:pt x="2721" y="9889"/>
                    </a:lnTo>
                    <a:lnTo>
                      <a:pt x="2809" y="9889"/>
                    </a:lnTo>
                    <a:lnTo>
                      <a:pt x="2897" y="9802"/>
                    </a:lnTo>
                    <a:lnTo>
                      <a:pt x="3248" y="9628"/>
                    </a:lnTo>
                    <a:lnTo>
                      <a:pt x="3424" y="9628"/>
                    </a:lnTo>
                    <a:lnTo>
                      <a:pt x="3600" y="9542"/>
                    </a:lnTo>
                    <a:lnTo>
                      <a:pt x="3775" y="9542"/>
                    </a:lnTo>
                    <a:lnTo>
                      <a:pt x="3951" y="9715"/>
                    </a:lnTo>
                    <a:lnTo>
                      <a:pt x="3775" y="9889"/>
                    </a:lnTo>
                    <a:lnTo>
                      <a:pt x="3775" y="9975"/>
                    </a:lnTo>
                    <a:lnTo>
                      <a:pt x="3687" y="10149"/>
                    </a:lnTo>
                    <a:lnTo>
                      <a:pt x="3775" y="10236"/>
                    </a:lnTo>
                    <a:lnTo>
                      <a:pt x="3863" y="10409"/>
                    </a:lnTo>
                    <a:lnTo>
                      <a:pt x="3951" y="10496"/>
                    </a:lnTo>
                    <a:lnTo>
                      <a:pt x="4039" y="10669"/>
                    </a:lnTo>
                    <a:lnTo>
                      <a:pt x="4039" y="10756"/>
                    </a:lnTo>
                    <a:lnTo>
                      <a:pt x="3951" y="10930"/>
                    </a:lnTo>
                    <a:lnTo>
                      <a:pt x="3775" y="11103"/>
                    </a:lnTo>
                    <a:lnTo>
                      <a:pt x="3336" y="11277"/>
                    </a:lnTo>
                    <a:lnTo>
                      <a:pt x="2809" y="11537"/>
                    </a:lnTo>
                    <a:lnTo>
                      <a:pt x="2458" y="11884"/>
                    </a:lnTo>
                    <a:lnTo>
                      <a:pt x="2282" y="12318"/>
                    </a:lnTo>
                    <a:lnTo>
                      <a:pt x="2370" y="12318"/>
                    </a:lnTo>
                    <a:lnTo>
                      <a:pt x="2282" y="12318"/>
                    </a:lnTo>
                    <a:lnTo>
                      <a:pt x="2282" y="12404"/>
                    </a:lnTo>
                    <a:lnTo>
                      <a:pt x="1931" y="12578"/>
                    </a:lnTo>
                    <a:lnTo>
                      <a:pt x="1580" y="12838"/>
                    </a:lnTo>
                    <a:lnTo>
                      <a:pt x="1229" y="13012"/>
                    </a:lnTo>
                    <a:lnTo>
                      <a:pt x="965" y="13185"/>
                    </a:lnTo>
                    <a:lnTo>
                      <a:pt x="790" y="13359"/>
                    </a:lnTo>
                    <a:lnTo>
                      <a:pt x="614" y="13706"/>
                    </a:lnTo>
                    <a:lnTo>
                      <a:pt x="702" y="13879"/>
                    </a:lnTo>
                    <a:lnTo>
                      <a:pt x="965" y="14053"/>
                    </a:lnTo>
                    <a:lnTo>
                      <a:pt x="965" y="14139"/>
                    </a:lnTo>
                    <a:lnTo>
                      <a:pt x="1053" y="14139"/>
                    </a:lnTo>
                    <a:lnTo>
                      <a:pt x="1229" y="14226"/>
                    </a:lnTo>
                    <a:lnTo>
                      <a:pt x="1492" y="14313"/>
                    </a:lnTo>
                    <a:lnTo>
                      <a:pt x="1668" y="14399"/>
                    </a:lnTo>
                    <a:lnTo>
                      <a:pt x="1668" y="15267"/>
                    </a:lnTo>
                    <a:lnTo>
                      <a:pt x="1843" y="15527"/>
                    </a:lnTo>
                    <a:lnTo>
                      <a:pt x="2107" y="15701"/>
                    </a:lnTo>
                    <a:lnTo>
                      <a:pt x="2985" y="15701"/>
                    </a:lnTo>
                    <a:lnTo>
                      <a:pt x="2985" y="15787"/>
                    </a:lnTo>
                    <a:lnTo>
                      <a:pt x="3073" y="15874"/>
                    </a:lnTo>
                    <a:lnTo>
                      <a:pt x="3073" y="16048"/>
                    </a:lnTo>
                    <a:lnTo>
                      <a:pt x="3160" y="16221"/>
                    </a:lnTo>
                    <a:lnTo>
                      <a:pt x="3248" y="16481"/>
                    </a:lnTo>
                    <a:lnTo>
                      <a:pt x="3248" y="16742"/>
                    </a:lnTo>
                    <a:lnTo>
                      <a:pt x="3336" y="16828"/>
                    </a:lnTo>
                    <a:lnTo>
                      <a:pt x="3600" y="16828"/>
                    </a:lnTo>
                    <a:lnTo>
                      <a:pt x="3775" y="16742"/>
                    </a:lnTo>
                    <a:lnTo>
                      <a:pt x="3951" y="16568"/>
                    </a:lnTo>
                    <a:lnTo>
                      <a:pt x="4214" y="16568"/>
                    </a:lnTo>
                    <a:lnTo>
                      <a:pt x="4302" y="16655"/>
                    </a:lnTo>
                    <a:lnTo>
                      <a:pt x="4302" y="16828"/>
                    </a:lnTo>
                    <a:lnTo>
                      <a:pt x="4390" y="16915"/>
                    </a:lnTo>
                    <a:lnTo>
                      <a:pt x="4390" y="17002"/>
                    </a:lnTo>
                    <a:lnTo>
                      <a:pt x="4653" y="17262"/>
                    </a:lnTo>
                    <a:lnTo>
                      <a:pt x="4829" y="17262"/>
                    </a:lnTo>
                    <a:lnTo>
                      <a:pt x="5092" y="17175"/>
                    </a:lnTo>
                    <a:lnTo>
                      <a:pt x="5268" y="17002"/>
                    </a:lnTo>
                    <a:lnTo>
                      <a:pt x="5356" y="17002"/>
                    </a:lnTo>
                    <a:lnTo>
                      <a:pt x="5531" y="16828"/>
                    </a:lnTo>
                    <a:lnTo>
                      <a:pt x="5619" y="16655"/>
                    </a:lnTo>
                    <a:lnTo>
                      <a:pt x="5707" y="16568"/>
                    </a:lnTo>
                    <a:lnTo>
                      <a:pt x="5882" y="16481"/>
                    </a:lnTo>
                    <a:lnTo>
                      <a:pt x="6058" y="16481"/>
                    </a:lnTo>
                    <a:lnTo>
                      <a:pt x="6058" y="16828"/>
                    </a:lnTo>
                    <a:lnTo>
                      <a:pt x="5970" y="17175"/>
                    </a:lnTo>
                    <a:lnTo>
                      <a:pt x="5795" y="17696"/>
                    </a:lnTo>
                    <a:lnTo>
                      <a:pt x="5531" y="18130"/>
                    </a:lnTo>
                    <a:lnTo>
                      <a:pt x="5356" y="18216"/>
                    </a:lnTo>
                    <a:lnTo>
                      <a:pt x="5004" y="18477"/>
                    </a:lnTo>
                    <a:lnTo>
                      <a:pt x="4565" y="18824"/>
                    </a:lnTo>
                    <a:lnTo>
                      <a:pt x="4126" y="19257"/>
                    </a:lnTo>
                    <a:lnTo>
                      <a:pt x="3775" y="19691"/>
                    </a:lnTo>
                    <a:lnTo>
                      <a:pt x="3687" y="19778"/>
                    </a:lnTo>
                    <a:lnTo>
                      <a:pt x="3600" y="19778"/>
                    </a:lnTo>
                    <a:lnTo>
                      <a:pt x="3424" y="19865"/>
                    </a:lnTo>
                    <a:lnTo>
                      <a:pt x="3248" y="20038"/>
                    </a:lnTo>
                    <a:lnTo>
                      <a:pt x="2985" y="20125"/>
                    </a:lnTo>
                    <a:lnTo>
                      <a:pt x="2809" y="20385"/>
                    </a:lnTo>
                    <a:lnTo>
                      <a:pt x="2721" y="20559"/>
                    </a:lnTo>
                    <a:lnTo>
                      <a:pt x="2809" y="20559"/>
                    </a:lnTo>
                    <a:lnTo>
                      <a:pt x="2897" y="20472"/>
                    </a:lnTo>
                    <a:lnTo>
                      <a:pt x="3424" y="20298"/>
                    </a:lnTo>
                    <a:lnTo>
                      <a:pt x="4126" y="20125"/>
                    </a:lnTo>
                    <a:lnTo>
                      <a:pt x="4653" y="19865"/>
                    </a:lnTo>
                    <a:lnTo>
                      <a:pt x="5268" y="19518"/>
                    </a:lnTo>
                    <a:lnTo>
                      <a:pt x="5882" y="18910"/>
                    </a:lnTo>
                    <a:lnTo>
                      <a:pt x="6497" y="18390"/>
                    </a:lnTo>
                    <a:lnTo>
                      <a:pt x="7024" y="17869"/>
                    </a:lnTo>
                    <a:lnTo>
                      <a:pt x="7375" y="17696"/>
                    </a:lnTo>
                    <a:lnTo>
                      <a:pt x="7551" y="17522"/>
                    </a:lnTo>
                    <a:lnTo>
                      <a:pt x="7726" y="17436"/>
                    </a:lnTo>
                    <a:lnTo>
                      <a:pt x="8078" y="17089"/>
                    </a:lnTo>
                    <a:lnTo>
                      <a:pt x="8165" y="16915"/>
                    </a:lnTo>
                    <a:lnTo>
                      <a:pt x="7990" y="16568"/>
                    </a:lnTo>
                    <a:lnTo>
                      <a:pt x="7902" y="16568"/>
                    </a:lnTo>
                    <a:lnTo>
                      <a:pt x="7814" y="16481"/>
                    </a:lnTo>
                    <a:lnTo>
                      <a:pt x="7814" y="16395"/>
                    </a:lnTo>
                    <a:lnTo>
                      <a:pt x="7726" y="16308"/>
                    </a:lnTo>
                    <a:lnTo>
                      <a:pt x="7814" y="16221"/>
                    </a:lnTo>
                    <a:lnTo>
                      <a:pt x="7990" y="16134"/>
                    </a:lnTo>
                    <a:lnTo>
                      <a:pt x="8253" y="15614"/>
                    </a:lnTo>
                    <a:lnTo>
                      <a:pt x="8780" y="14746"/>
                    </a:lnTo>
                    <a:lnTo>
                      <a:pt x="8956" y="14226"/>
                    </a:lnTo>
                    <a:lnTo>
                      <a:pt x="9043" y="14139"/>
                    </a:lnTo>
                    <a:lnTo>
                      <a:pt x="9395" y="13966"/>
                    </a:lnTo>
                    <a:lnTo>
                      <a:pt x="9921" y="13792"/>
                    </a:lnTo>
                    <a:lnTo>
                      <a:pt x="10712" y="13792"/>
                    </a:lnTo>
                    <a:lnTo>
                      <a:pt x="10887" y="13966"/>
                    </a:lnTo>
                    <a:lnTo>
                      <a:pt x="10975" y="13966"/>
                    </a:lnTo>
                    <a:lnTo>
                      <a:pt x="11063" y="14053"/>
                    </a:lnTo>
                    <a:lnTo>
                      <a:pt x="11063" y="14139"/>
                    </a:lnTo>
                    <a:lnTo>
                      <a:pt x="10887" y="14226"/>
                    </a:lnTo>
                    <a:lnTo>
                      <a:pt x="10712" y="14226"/>
                    </a:lnTo>
                    <a:lnTo>
                      <a:pt x="9658" y="14573"/>
                    </a:lnTo>
                    <a:lnTo>
                      <a:pt x="9307" y="15007"/>
                    </a:lnTo>
                    <a:lnTo>
                      <a:pt x="9307" y="15180"/>
                    </a:lnTo>
                    <a:lnTo>
                      <a:pt x="9131" y="15527"/>
                    </a:lnTo>
                    <a:lnTo>
                      <a:pt x="9043" y="15614"/>
                    </a:lnTo>
                    <a:lnTo>
                      <a:pt x="9043" y="16048"/>
                    </a:lnTo>
                    <a:lnTo>
                      <a:pt x="9131" y="16134"/>
                    </a:lnTo>
                    <a:lnTo>
                      <a:pt x="9131" y="16308"/>
                    </a:lnTo>
                    <a:lnTo>
                      <a:pt x="9658" y="16308"/>
                    </a:lnTo>
                    <a:lnTo>
                      <a:pt x="9658" y="16221"/>
                    </a:lnTo>
                    <a:lnTo>
                      <a:pt x="10185" y="15961"/>
                    </a:lnTo>
                    <a:lnTo>
                      <a:pt x="10360" y="15787"/>
                    </a:lnTo>
                    <a:lnTo>
                      <a:pt x="10624" y="15614"/>
                    </a:lnTo>
                    <a:lnTo>
                      <a:pt x="10887" y="15354"/>
                    </a:lnTo>
                    <a:lnTo>
                      <a:pt x="10975" y="15180"/>
                    </a:lnTo>
                    <a:lnTo>
                      <a:pt x="10975" y="15007"/>
                    </a:lnTo>
                    <a:lnTo>
                      <a:pt x="11063" y="14920"/>
                    </a:lnTo>
                    <a:lnTo>
                      <a:pt x="11063" y="14746"/>
                    </a:lnTo>
                    <a:lnTo>
                      <a:pt x="11151" y="14660"/>
                    </a:lnTo>
                    <a:lnTo>
                      <a:pt x="11239" y="14486"/>
                    </a:lnTo>
                    <a:lnTo>
                      <a:pt x="11326" y="14486"/>
                    </a:lnTo>
                    <a:lnTo>
                      <a:pt x="11502" y="14399"/>
                    </a:lnTo>
                    <a:lnTo>
                      <a:pt x="11678" y="14486"/>
                    </a:lnTo>
                    <a:lnTo>
                      <a:pt x="11853" y="14660"/>
                    </a:lnTo>
                    <a:lnTo>
                      <a:pt x="12292" y="14660"/>
                    </a:lnTo>
                    <a:lnTo>
                      <a:pt x="12468" y="14746"/>
                    </a:lnTo>
                    <a:lnTo>
                      <a:pt x="12731" y="14833"/>
                    </a:lnTo>
                    <a:lnTo>
                      <a:pt x="12907" y="15007"/>
                    </a:lnTo>
                    <a:lnTo>
                      <a:pt x="12995" y="15180"/>
                    </a:lnTo>
                    <a:lnTo>
                      <a:pt x="13170" y="15267"/>
                    </a:lnTo>
                    <a:lnTo>
                      <a:pt x="13697" y="15354"/>
                    </a:lnTo>
                    <a:lnTo>
                      <a:pt x="14487" y="15527"/>
                    </a:lnTo>
                    <a:lnTo>
                      <a:pt x="14751" y="15527"/>
                    </a:lnTo>
                    <a:lnTo>
                      <a:pt x="14926" y="15701"/>
                    </a:lnTo>
                    <a:lnTo>
                      <a:pt x="15102" y="15787"/>
                    </a:lnTo>
                    <a:lnTo>
                      <a:pt x="15278" y="16048"/>
                    </a:lnTo>
                    <a:lnTo>
                      <a:pt x="15365" y="15961"/>
                    </a:lnTo>
                    <a:lnTo>
                      <a:pt x="15365" y="15874"/>
                    </a:lnTo>
                    <a:lnTo>
                      <a:pt x="15541" y="15787"/>
                    </a:lnTo>
                    <a:lnTo>
                      <a:pt x="15629" y="15701"/>
                    </a:lnTo>
                    <a:lnTo>
                      <a:pt x="15980" y="15701"/>
                    </a:lnTo>
                    <a:lnTo>
                      <a:pt x="16068" y="15874"/>
                    </a:lnTo>
                    <a:lnTo>
                      <a:pt x="16331" y="16134"/>
                    </a:lnTo>
                    <a:lnTo>
                      <a:pt x="16682" y="16568"/>
                    </a:lnTo>
                    <a:lnTo>
                      <a:pt x="17121" y="17002"/>
                    </a:lnTo>
                    <a:lnTo>
                      <a:pt x="17473" y="17436"/>
                    </a:lnTo>
                    <a:lnTo>
                      <a:pt x="17824" y="17696"/>
                    </a:lnTo>
                    <a:lnTo>
                      <a:pt x="17912" y="17783"/>
                    </a:lnTo>
                    <a:lnTo>
                      <a:pt x="18614" y="16742"/>
                    </a:lnTo>
                    <a:lnTo>
                      <a:pt x="18702" y="16828"/>
                    </a:lnTo>
                    <a:lnTo>
                      <a:pt x="19229" y="17696"/>
                    </a:lnTo>
                    <a:lnTo>
                      <a:pt x="19404" y="18130"/>
                    </a:lnTo>
                    <a:lnTo>
                      <a:pt x="19492" y="18130"/>
                    </a:lnTo>
                    <a:lnTo>
                      <a:pt x="19580" y="18216"/>
                    </a:lnTo>
                    <a:lnTo>
                      <a:pt x="19668" y="18390"/>
                    </a:lnTo>
                    <a:lnTo>
                      <a:pt x="20019" y="18737"/>
                    </a:lnTo>
                    <a:lnTo>
                      <a:pt x="20107" y="18910"/>
                    </a:lnTo>
                    <a:lnTo>
                      <a:pt x="20107" y="19257"/>
                    </a:lnTo>
                    <a:lnTo>
                      <a:pt x="20195" y="19518"/>
                    </a:lnTo>
                    <a:lnTo>
                      <a:pt x="20282" y="19691"/>
                    </a:lnTo>
                    <a:lnTo>
                      <a:pt x="20458" y="19865"/>
                    </a:lnTo>
                    <a:lnTo>
                      <a:pt x="20458" y="20038"/>
                    </a:lnTo>
                    <a:lnTo>
                      <a:pt x="20721" y="20038"/>
                    </a:lnTo>
                    <a:lnTo>
                      <a:pt x="20897" y="19865"/>
                    </a:lnTo>
                    <a:lnTo>
                      <a:pt x="20897" y="19951"/>
                    </a:lnTo>
                    <a:lnTo>
                      <a:pt x="20985" y="19951"/>
                    </a:lnTo>
                    <a:lnTo>
                      <a:pt x="20985" y="20298"/>
                    </a:lnTo>
                    <a:lnTo>
                      <a:pt x="21073" y="20559"/>
                    </a:lnTo>
                    <a:lnTo>
                      <a:pt x="20985" y="20559"/>
                    </a:lnTo>
                    <a:lnTo>
                      <a:pt x="20985" y="20645"/>
                    </a:lnTo>
                    <a:lnTo>
                      <a:pt x="20897" y="20819"/>
                    </a:lnTo>
                    <a:lnTo>
                      <a:pt x="20897" y="21166"/>
                    </a:lnTo>
                    <a:lnTo>
                      <a:pt x="20985" y="21426"/>
                    </a:lnTo>
                    <a:lnTo>
                      <a:pt x="21073" y="21513"/>
                    </a:lnTo>
                    <a:lnTo>
                      <a:pt x="21248" y="21600"/>
                    </a:lnTo>
                    <a:lnTo>
                      <a:pt x="21336" y="21426"/>
                    </a:lnTo>
                    <a:lnTo>
                      <a:pt x="21424" y="21079"/>
                    </a:lnTo>
                    <a:lnTo>
                      <a:pt x="21512" y="20559"/>
                    </a:lnTo>
                    <a:lnTo>
                      <a:pt x="21599" y="20125"/>
                    </a:lnTo>
                    <a:lnTo>
                      <a:pt x="21599" y="19778"/>
                    </a:lnTo>
                    <a:lnTo>
                      <a:pt x="21512" y="19778"/>
                    </a:lnTo>
                    <a:lnTo>
                      <a:pt x="20985" y="19257"/>
                    </a:lnTo>
                    <a:lnTo>
                      <a:pt x="20809" y="18997"/>
                    </a:lnTo>
                    <a:lnTo>
                      <a:pt x="20546" y="18477"/>
                    </a:lnTo>
                    <a:lnTo>
                      <a:pt x="20282" y="18130"/>
                    </a:lnTo>
                    <a:lnTo>
                      <a:pt x="19931" y="17609"/>
                    </a:lnTo>
                    <a:lnTo>
                      <a:pt x="19492" y="17002"/>
                    </a:lnTo>
                    <a:lnTo>
                      <a:pt x="19053" y="16481"/>
                    </a:lnTo>
                    <a:lnTo>
                      <a:pt x="18702" y="16048"/>
                    </a:lnTo>
                    <a:lnTo>
                      <a:pt x="18439" y="15874"/>
                    </a:lnTo>
                    <a:lnTo>
                      <a:pt x="18351" y="15874"/>
                    </a:lnTo>
                    <a:lnTo>
                      <a:pt x="18087" y="16134"/>
                    </a:lnTo>
                    <a:lnTo>
                      <a:pt x="17912" y="16221"/>
                    </a:lnTo>
                    <a:lnTo>
                      <a:pt x="17648" y="16395"/>
                    </a:lnTo>
                    <a:lnTo>
                      <a:pt x="17473" y="16395"/>
                    </a:lnTo>
                    <a:lnTo>
                      <a:pt x="17385" y="16308"/>
                    </a:lnTo>
                    <a:lnTo>
                      <a:pt x="17034" y="16048"/>
                    </a:lnTo>
                    <a:lnTo>
                      <a:pt x="16156" y="15354"/>
                    </a:lnTo>
                    <a:lnTo>
                      <a:pt x="15717" y="15093"/>
                    </a:lnTo>
                    <a:lnTo>
                      <a:pt x="15365" y="14833"/>
                    </a:lnTo>
                    <a:lnTo>
                      <a:pt x="14839" y="14833"/>
                    </a:lnTo>
                    <a:lnTo>
                      <a:pt x="14839" y="2168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202" name="AutoShape 36"/>
              <p:cNvSpPr>
                <a:spLocks/>
              </p:cNvSpPr>
              <p:nvPr/>
            </p:nvSpPr>
            <p:spPr bwMode="auto">
              <a:xfrm>
                <a:off x="620713" y="1077319"/>
                <a:ext cx="831850" cy="42204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8731" y="4063"/>
                    </a:moveTo>
                    <a:lnTo>
                      <a:pt x="19024" y="3421"/>
                    </a:lnTo>
                    <a:lnTo>
                      <a:pt x="19434" y="3100"/>
                    </a:lnTo>
                    <a:lnTo>
                      <a:pt x="19902" y="2887"/>
                    </a:lnTo>
                    <a:lnTo>
                      <a:pt x="20312" y="2780"/>
                    </a:lnTo>
                    <a:lnTo>
                      <a:pt x="20429" y="2780"/>
                    </a:lnTo>
                    <a:lnTo>
                      <a:pt x="20604" y="2245"/>
                    </a:lnTo>
                    <a:lnTo>
                      <a:pt x="20721" y="1924"/>
                    </a:lnTo>
                    <a:lnTo>
                      <a:pt x="20839" y="1710"/>
                    </a:lnTo>
                    <a:lnTo>
                      <a:pt x="21073" y="1497"/>
                    </a:lnTo>
                    <a:lnTo>
                      <a:pt x="21131" y="1497"/>
                    </a:lnTo>
                    <a:lnTo>
                      <a:pt x="21190" y="1603"/>
                    </a:lnTo>
                    <a:lnTo>
                      <a:pt x="21248" y="1603"/>
                    </a:lnTo>
                    <a:lnTo>
                      <a:pt x="21424" y="1710"/>
                    </a:lnTo>
                    <a:lnTo>
                      <a:pt x="21482" y="2138"/>
                    </a:lnTo>
                    <a:lnTo>
                      <a:pt x="21424" y="2566"/>
                    </a:lnTo>
                    <a:lnTo>
                      <a:pt x="21307" y="2994"/>
                    </a:lnTo>
                    <a:lnTo>
                      <a:pt x="21248" y="3314"/>
                    </a:lnTo>
                    <a:lnTo>
                      <a:pt x="21190" y="3421"/>
                    </a:lnTo>
                    <a:lnTo>
                      <a:pt x="21307" y="3635"/>
                    </a:lnTo>
                    <a:lnTo>
                      <a:pt x="21424" y="3742"/>
                    </a:lnTo>
                    <a:lnTo>
                      <a:pt x="21482" y="3849"/>
                    </a:lnTo>
                    <a:lnTo>
                      <a:pt x="21599" y="3956"/>
                    </a:lnTo>
                    <a:lnTo>
                      <a:pt x="21599" y="4063"/>
                    </a:lnTo>
                    <a:lnTo>
                      <a:pt x="21541" y="4063"/>
                    </a:lnTo>
                    <a:lnTo>
                      <a:pt x="21482" y="4170"/>
                    </a:lnTo>
                    <a:lnTo>
                      <a:pt x="21365" y="4277"/>
                    </a:lnTo>
                    <a:lnTo>
                      <a:pt x="21365" y="4384"/>
                    </a:lnTo>
                    <a:lnTo>
                      <a:pt x="21248" y="4384"/>
                    </a:lnTo>
                    <a:lnTo>
                      <a:pt x="21014" y="4598"/>
                    </a:lnTo>
                    <a:lnTo>
                      <a:pt x="20839" y="4598"/>
                    </a:lnTo>
                    <a:lnTo>
                      <a:pt x="20721" y="4704"/>
                    </a:lnTo>
                    <a:lnTo>
                      <a:pt x="20604" y="4918"/>
                    </a:lnTo>
                    <a:lnTo>
                      <a:pt x="20546" y="5132"/>
                    </a:lnTo>
                    <a:lnTo>
                      <a:pt x="20429" y="5346"/>
                    </a:lnTo>
                    <a:lnTo>
                      <a:pt x="20370" y="5560"/>
                    </a:lnTo>
                    <a:lnTo>
                      <a:pt x="20253" y="5667"/>
                    </a:lnTo>
                    <a:lnTo>
                      <a:pt x="20253" y="5774"/>
                    </a:lnTo>
                    <a:lnTo>
                      <a:pt x="20195" y="5774"/>
                    </a:lnTo>
                    <a:lnTo>
                      <a:pt x="19902" y="6308"/>
                    </a:lnTo>
                    <a:lnTo>
                      <a:pt x="19902" y="6629"/>
                    </a:lnTo>
                    <a:lnTo>
                      <a:pt x="20078" y="6629"/>
                    </a:lnTo>
                    <a:lnTo>
                      <a:pt x="20136" y="6736"/>
                    </a:lnTo>
                    <a:lnTo>
                      <a:pt x="20312" y="6736"/>
                    </a:lnTo>
                    <a:lnTo>
                      <a:pt x="20429" y="6843"/>
                    </a:lnTo>
                    <a:lnTo>
                      <a:pt x="20546" y="7057"/>
                    </a:lnTo>
                    <a:lnTo>
                      <a:pt x="20487" y="7164"/>
                    </a:lnTo>
                    <a:lnTo>
                      <a:pt x="20253" y="7378"/>
                    </a:lnTo>
                    <a:lnTo>
                      <a:pt x="19668" y="7378"/>
                    </a:lnTo>
                    <a:lnTo>
                      <a:pt x="19551" y="7485"/>
                    </a:lnTo>
                    <a:lnTo>
                      <a:pt x="19375" y="7592"/>
                    </a:lnTo>
                    <a:lnTo>
                      <a:pt x="19024" y="7592"/>
                    </a:lnTo>
                    <a:lnTo>
                      <a:pt x="18907" y="7485"/>
                    </a:lnTo>
                    <a:lnTo>
                      <a:pt x="18907" y="7592"/>
                    </a:lnTo>
                    <a:lnTo>
                      <a:pt x="18848" y="7592"/>
                    </a:lnTo>
                    <a:lnTo>
                      <a:pt x="18790" y="7699"/>
                    </a:lnTo>
                    <a:lnTo>
                      <a:pt x="18790" y="8019"/>
                    </a:lnTo>
                    <a:lnTo>
                      <a:pt x="18907" y="8126"/>
                    </a:lnTo>
                    <a:lnTo>
                      <a:pt x="18907" y="9730"/>
                    </a:lnTo>
                    <a:lnTo>
                      <a:pt x="18848" y="9944"/>
                    </a:lnTo>
                    <a:lnTo>
                      <a:pt x="18848" y="10158"/>
                    </a:lnTo>
                    <a:lnTo>
                      <a:pt x="18731" y="10372"/>
                    </a:lnTo>
                    <a:lnTo>
                      <a:pt x="18673" y="10265"/>
                    </a:lnTo>
                    <a:lnTo>
                      <a:pt x="18673" y="9837"/>
                    </a:lnTo>
                    <a:lnTo>
                      <a:pt x="18556" y="9409"/>
                    </a:lnTo>
                    <a:lnTo>
                      <a:pt x="18439" y="9837"/>
                    </a:lnTo>
                    <a:lnTo>
                      <a:pt x="18146" y="9409"/>
                    </a:lnTo>
                    <a:lnTo>
                      <a:pt x="18146" y="9730"/>
                    </a:lnTo>
                    <a:lnTo>
                      <a:pt x="18204" y="9944"/>
                    </a:lnTo>
                    <a:lnTo>
                      <a:pt x="18263" y="10051"/>
                    </a:lnTo>
                    <a:lnTo>
                      <a:pt x="18380" y="10479"/>
                    </a:lnTo>
                    <a:lnTo>
                      <a:pt x="18380" y="10800"/>
                    </a:lnTo>
                    <a:lnTo>
                      <a:pt x="18321" y="10800"/>
                    </a:lnTo>
                    <a:lnTo>
                      <a:pt x="18321" y="10906"/>
                    </a:lnTo>
                    <a:lnTo>
                      <a:pt x="18263" y="10906"/>
                    </a:lnTo>
                    <a:lnTo>
                      <a:pt x="18146" y="11013"/>
                    </a:lnTo>
                    <a:lnTo>
                      <a:pt x="17912" y="11013"/>
                    </a:lnTo>
                    <a:lnTo>
                      <a:pt x="17912" y="11120"/>
                    </a:lnTo>
                    <a:lnTo>
                      <a:pt x="17970" y="11227"/>
                    </a:lnTo>
                    <a:lnTo>
                      <a:pt x="17970" y="11441"/>
                    </a:lnTo>
                    <a:lnTo>
                      <a:pt x="18029" y="11655"/>
                    </a:lnTo>
                    <a:lnTo>
                      <a:pt x="18087" y="12083"/>
                    </a:lnTo>
                    <a:lnTo>
                      <a:pt x="18146" y="12190"/>
                    </a:lnTo>
                    <a:lnTo>
                      <a:pt x="18204" y="12190"/>
                    </a:lnTo>
                    <a:lnTo>
                      <a:pt x="18263" y="12297"/>
                    </a:lnTo>
                    <a:lnTo>
                      <a:pt x="18263" y="12510"/>
                    </a:lnTo>
                    <a:lnTo>
                      <a:pt x="18204" y="12510"/>
                    </a:lnTo>
                    <a:lnTo>
                      <a:pt x="18087" y="12617"/>
                    </a:lnTo>
                    <a:lnTo>
                      <a:pt x="17970" y="12617"/>
                    </a:lnTo>
                    <a:lnTo>
                      <a:pt x="17853" y="12831"/>
                    </a:lnTo>
                    <a:lnTo>
                      <a:pt x="17853" y="13152"/>
                    </a:lnTo>
                    <a:lnTo>
                      <a:pt x="17736" y="13366"/>
                    </a:lnTo>
                    <a:lnTo>
                      <a:pt x="17619" y="13473"/>
                    </a:lnTo>
                    <a:lnTo>
                      <a:pt x="17385" y="13900"/>
                    </a:lnTo>
                    <a:lnTo>
                      <a:pt x="17034" y="14435"/>
                    </a:lnTo>
                    <a:lnTo>
                      <a:pt x="16682" y="15184"/>
                    </a:lnTo>
                    <a:lnTo>
                      <a:pt x="16273" y="15825"/>
                    </a:lnTo>
                    <a:lnTo>
                      <a:pt x="16156" y="16253"/>
                    </a:lnTo>
                    <a:lnTo>
                      <a:pt x="16156" y="16467"/>
                    </a:lnTo>
                    <a:lnTo>
                      <a:pt x="16097" y="16895"/>
                    </a:lnTo>
                    <a:lnTo>
                      <a:pt x="16097" y="17322"/>
                    </a:lnTo>
                    <a:lnTo>
                      <a:pt x="16156" y="17750"/>
                    </a:lnTo>
                    <a:lnTo>
                      <a:pt x="16214" y="18071"/>
                    </a:lnTo>
                    <a:lnTo>
                      <a:pt x="16331" y="18499"/>
                    </a:lnTo>
                    <a:lnTo>
                      <a:pt x="16390" y="18605"/>
                    </a:lnTo>
                    <a:lnTo>
                      <a:pt x="16565" y="19033"/>
                    </a:lnTo>
                    <a:lnTo>
                      <a:pt x="16741" y="19675"/>
                    </a:lnTo>
                    <a:lnTo>
                      <a:pt x="16799" y="20423"/>
                    </a:lnTo>
                    <a:lnTo>
                      <a:pt x="16741" y="21279"/>
                    </a:lnTo>
                    <a:lnTo>
                      <a:pt x="16741" y="21386"/>
                    </a:lnTo>
                    <a:lnTo>
                      <a:pt x="16682" y="21386"/>
                    </a:lnTo>
                    <a:lnTo>
                      <a:pt x="16682" y="21493"/>
                    </a:lnTo>
                    <a:lnTo>
                      <a:pt x="16624" y="21599"/>
                    </a:lnTo>
                    <a:lnTo>
                      <a:pt x="16448" y="21599"/>
                    </a:lnTo>
                    <a:lnTo>
                      <a:pt x="16331" y="21386"/>
                    </a:lnTo>
                    <a:lnTo>
                      <a:pt x="16214" y="21065"/>
                    </a:lnTo>
                    <a:lnTo>
                      <a:pt x="16097" y="20958"/>
                    </a:lnTo>
                    <a:lnTo>
                      <a:pt x="15863" y="20530"/>
                    </a:lnTo>
                    <a:lnTo>
                      <a:pt x="15570" y="19675"/>
                    </a:lnTo>
                    <a:lnTo>
                      <a:pt x="15453" y="18605"/>
                    </a:lnTo>
                    <a:lnTo>
                      <a:pt x="15453" y="18178"/>
                    </a:lnTo>
                    <a:lnTo>
                      <a:pt x="15336" y="17750"/>
                    </a:lnTo>
                    <a:lnTo>
                      <a:pt x="15219" y="17643"/>
                    </a:lnTo>
                    <a:lnTo>
                      <a:pt x="15102" y="17429"/>
                    </a:lnTo>
                    <a:lnTo>
                      <a:pt x="14926" y="17429"/>
                    </a:lnTo>
                    <a:lnTo>
                      <a:pt x="14751" y="17322"/>
                    </a:lnTo>
                    <a:lnTo>
                      <a:pt x="14341" y="17322"/>
                    </a:lnTo>
                    <a:lnTo>
                      <a:pt x="13814" y="17215"/>
                    </a:lnTo>
                    <a:lnTo>
                      <a:pt x="13346" y="17215"/>
                    </a:lnTo>
                    <a:lnTo>
                      <a:pt x="13053" y="17322"/>
                    </a:lnTo>
                    <a:lnTo>
                      <a:pt x="12995" y="17536"/>
                    </a:lnTo>
                    <a:lnTo>
                      <a:pt x="12819" y="17643"/>
                    </a:lnTo>
                    <a:lnTo>
                      <a:pt x="12468" y="17750"/>
                    </a:lnTo>
                    <a:lnTo>
                      <a:pt x="11531" y="17750"/>
                    </a:lnTo>
                    <a:lnTo>
                      <a:pt x="11180" y="17857"/>
                    </a:lnTo>
                    <a:lnTo>
                      <a:pt x="10887" y="18178"/>
                    </a:lnTo>
                    <a:lnTo>
                      <a:pt x="10360" y="18605"/>
                    </a:lnTo>
                    <a:lnTo>
                      <a:pt x="10009" y="19568"/>
                    </a:lnTo>
                    <a:lnTo>
                      <a:pt x="10009" y="19675"/>
                    </a:lnTo>
                    <a:lnTo>
                      <a:pt x="10068" y="19782"/>
                    </a:lnTo>
                    <a:lnTo>
                      <a:pt x="10068" y="20423"/>
                    </a:lnTo>
                    <a:lnTo>
                      <a:pt x="9892" y="20423"/>
                    </a:lnTo>
                    <a:lnTo>
                      <a:pt x="9658" y="20102"/>
                    </a:lnTo>
                    <a:lnTo>
                      <a:pt x="9365" y="19568"/>
                    </a:lnTo>
                    <a:lnTo>
                      <a:pt x="9014" y="18712"/>
                    </a:lnTo>
                    <a:lnTo>
                      <a:pt x="8956" y="18605"/>
                    </a:lnTo>
                    <a:lnTo>
                      <a:pt x="8897" y="18392"/>
                    </a:lnTo>
                    <a:lnTo>
                      <a:pt x="8780" y="18285"/>
                    </a:lnTo>
                    <a:lnTo>
                      <a:pt x="8663" y="18071"/>
                    </a:lnTo>
                    <a:lnTo>
                      <a:pt x="8546" y="17964"/>
                    </a:lnTo>
                    <a:lnTo>
                      <a:pt x="8429" y="17964"/>
                    </a:lnTo>
                    <a:lnTo>
                      <a:pt x="8370" y="18071"/>
                    </a:lnTo>
                    <a:lnTo>
                      <a:pt x="8312" y="18071"/>
                    </a:lnTo>
                    <a:lnTo>
                      <a:pt x="8253" y="18178"/>
                    </a:lnTo>
                    <a:lnTo>
                      <a:pt x="7960" y="18178"/>
                    </a:lnTo>
                    <a:lnTo>
                      <a:pt x="7785" y="17964"/>
                    </a:lnTo>
                    <a:lnTo>
                      <a:pt x="7668" y="17857"/>
                    </a:lnTo>
                    <a:lnTo>
                      <a:pt x="7434" y="17536"/>
                    </a:lnTo>
                    <a:lnTo>
                      <a:pt x="7199" y="16895"/>
                    </a:lnTo>
                    <a:lnTo>
                      <a:pt x="7082" y="16039"/>
                    </a:lnTo>
                    <a:lnTo>
                      <a:pt x="7024" y="15932"/>
                    </a:lnTo>
                    <a:lnTo>
                      <a:pt x="6965" y="15932"/>
                    </a:lnTo>
                    <a:lnTo>
                      <a:pt x="6848" y="15825"/>
                    </a:lnTo>
                    <a:lnTo>
                      <a:pt x="6380" y="15825"/>
                    </a:lnTo>
                    <a:lnTo>
                      <a:pt x="6263" y="16039"/>
                    </a:lnTo>
                    <a:lnTo>
                      <a:pt x="6146" y="16146"/>
                    </a:lnTo>
                    <a:lnTo>
                      <a:pt x="5795" y="16360"/>
                    </a:lnTo>
                    <a:lnTo>
                      <a:pt x="5151" y="16360"/>
                    </a:lnTo>
                    <a:lnTo>
                      <a:pt x="4858" y="16253"/>
                    </a:lnTo>
                    <a:lnTo>
                      <a:pt x="4448" y="16039"/>
                    </a:lnTo>
                    <a:lnTo>
                      <a:pt x="4097" y="15825"/>
                    </a:lnTo>
                    <a:lnTo>
                      <a:pt x="3804" y="15504"/>
                    </a:lnTo>
                    <a:lnTo>
                      <a:pt x="3746" y="15398"/>
                    </a:lnTo>
                    <a:lnTo>
                      <a:pt x="3629" y="15291"/>
                    </a:lnTo>
                    <a:lnTo>
                      <a:pt x="3278" y="15398"/>
                    </a:lnTo>
                    <a:lnTo>
                      <a:pt x="2868" y="15825"/>
                    </a:lnTo>
                    <a:lnTo>
                      <a:pt x="2809" y="15718"/>
                    </a:lnTo>
                    <a:lnTo>
                      <a:pt x="2809" y="15611"/>
                    </a:lnTo>
                    <a:lnTo>
                      <a:pt x="2751" y="15398"/>
                    </a:lnTo>
                    <a:lnTo>
                      <a:pt x="2634" y="15077"/>
                    </a:lnTo>
                    <a:lnTo>
                      <a:pt x="2575" y="14756"/>
                    </a:lnTo>
                    <a:lnTo>
                      <a:pt x="2341" y="14328"/>
                    </a:lnTo>
                    <a:lnTo>
                      <a:pt x="2165" y="14221"/>
                    </a:lnTo>
                    <a:lnTo>
                      <a:pt x="1931" y="14007"/>
                    </a:lnTo>
                    <a:lnTo>
                      <a:pt x="1756" y="13794"/>
                    </a:lnTo>
                    <a:lnTo>
                      <a:pt x="1521" y="13473"/>
                    </a:lnTo>
                    <a:lnTo>
                      <a:pt x="1346" y="12938"/>
                    </a:lnTo>
                    <a:lnTo>
                      <a:pt x="1229" y="12831"/>
                    </a:lnTo>
                    <a:lnTo>
                      <a:pt x="1053" y="12297"/>
                    </a:lnTo>
                    <a:lnTo>
                      <a:pt x="760" y="11548"/>
                    </a:lnTo>
                    <a:lnTo>
                      <a:pt x="468" y="10693"/>
                    </a:lnTo>
                    <a:lnTo>
                      <a:pt x="234" y="9623"/>
                    </a:lnTo>
                    <a:lnTo>
                      <a:pt x="58" y="8340"/>
                    </a:lnTo>
                    <a:lnTo>
                      <a:pt x="58" y="8126"/>
                    </a:lnTo>
                    <a:lnTo>
                      <a:pt x="0" y="7485"/>
                    </a:lnTo>
                    <a:lnTo>
                      <a:pt x="0" y="5881"/>
                    </a:lnTo>
                    <a:lnTo>
                      <a:pt x="117" y="5560"/>
                    </a:lnTo>
                    <a:lnTo>
                      <a:pt x="234" y="5346"/>
                    </a:lnTo>
                    <a:lnTo>
                      <a:pt x="292" y="5132"/>
                    </a:lnTo>
                    <a:lnTo>
                      <a:pt x="292" y="4598"/>
                    </a:lnTo>
                    <a:lnTo>
                      <a:pt x="234" y="4277"/>
                    </a:lnTo>
                    <a:lnTo>
                      <a:pt x="234" y="4063"/>
                    </a:lnTo>
                    <a:lnTo>
                      <a:pt x="175" y="3314"/>
                    </a:lnTo>
                    <a:lnTo>
                      <a:pt x="175" y="2459"/>
                    </a:lnTo>
                    <a:lnTo>
                      <a:pt x="117" y="1603"/>
                    </a:lnTo>
                    <a:lnTo>
                      <a:pt x="117" y="1069"/>
                    </a:lnTo>
                    <a:lnTo>
                      <a:pt x="234" y="1069"/>
                    </a:lnTo>
                    <a:lnTo>
                      <a:pt x="292" y="1176"/>
                    </a:lnTo>
                    <a:lnTo>
                      <a:pt x="409" y="1176"/>
                    </a:lnTo>
                    <a:lnTo>
                      <a:pt x="526" y="962"/>
                    </a:lnTo>
                    <a:lnTo>
                      <a:pt x="526" y="0"/>
                    </a:lnTo>
                    <a:lnTo>
                      <a:pt x="11121" y="0"/>
                    </a:lnTo>
                    <a:lnTo>
                      <a:pt x="11473" y="534"/>
                    </a:lnTo>
                    <a:lnTo>
                      <a:pt x="12175" y="641"/>
                    </a:lnTo>
                    <a:lnTo>
                      <a:pt x="12234" y="855"/>
                    </a:lnTo>
                    <a:lnTo>
                      <a:pt x="12468" y="1069"/>
                    </a:lnTo>
                    <a:lnTo>
                      <a:pt x="12702" y="1069"/>
                    </a:lnTo>
                    <a:lnTo>
                      <a:pt x="12643" y="1176"/>
                    </a:lnTo>
                    <a:lnTo>
                      <a:pt x="12643" y="1283"/>
                    </a:lnTo>
                    <a:lnTo>
                      <a:pt x="12292" y="1924"/>
                    </a:lnTo>
                    <a:lnTo>
                      <a:pt x="12175" y="2031"/>
                    </a:lnTo>
                    <a:lnTo>
                      <a:pt x="12175" y="2245"/>
                    </a:lnTo>
                    <a:lnTo>
                      <a:pt x="12234" y="2245"/>
                    </a:lnTo>
                    <a:lnTo>
                      <a:pt x="12351" y="2352"/>
                    </a:lnTo>
                    <a:lnTo>
                      <a:pt x="12936" y="2352"/>
                    </a:lnTo>
                    <a:lnTo>
                      <a:pt x="13287" y="2245"/>
                    </a:lnTo>
                    <a:lnTo>
                      <a:pt x="13580" y="2031"/>
                    </a:lnTo>
                    <a:lnTo>
                      <a:pt x="13639" y="2138"/>
                    </a:lnTo>
                    <a:lnTo>
                      <a:pt x="13697" y="2138"/>
                    </a:lnTo>
                    <a:lnTo>
                      <a:pt x="13756" y="2245"/>
                    </a:lnTo>
                    <a:lnTo>
                      <a:pt x="14224" y="2245"/>
                    </a:lnTo>
                    <a:lnTo>
                      <a:pt x="14341" y="2138"/>
                    </a:lnTo>
                    <a:lnTo>
                      <a:pt x="14517" y="2138"/>
                    </a:lnTo>
                    <a:lnTo>
                      <a:pt x="14634" y="2245"/>
                    </a:lnTo>
                    <a:lnTo>
                      <a:pt x="14692" y="2352"/>
                    </a:lnTo>
                    <a:lnTo>
                      <a:pt x="14692" y="2780"/>
                    </a:lnTo>
                    <a:lnTo>
                      <a:pt x="14517" y="3100"/>
                    </a:lnTo>
                    <a:lnTo>
                      <a:pt x="14341" y="3207"/>
                    </a:lnTo>
                    <a:lnTo>
                      <a:pt x="14341" y="3100"/>
                    </a:lnTo>
                    <a:lnTo>
                      <a:pt x="13990" y="3100"/>
                    </a:lnTo>
                    <a:lnTo>
                      <a:pt x="13931" y="3314"/>
                    </a:lnTo>
                    <a:lnTo>
                      <a:pt x="13814" y="3528"/>
                    </a:lnTo>
                    <a:lnTo>
                      <a:pt x="13756" y="3849"/>
                    </a:lnTo>
                    <a:lnTo>
                      <a:pt x="13814" y="3849"/>
                    </a:lnTo>
                    <a:lnTo>
                      <a:pt x="13931" y="4063"/>
                    </a:lnTo>
                    <a:lnTo>
                      <a:pt x="13931" y="4491"/>
                    </a:lnTo>
                    <a:lnTo>
                      <a:pt x="13873" y="4811"/>
                    </a:lnTo>
                    <a:lnTo>
                      <a:pt x="13814" y="4918"/>
                    </a:lnTo>
                    <a:lnTo>
                      <a:pt x="13756" y="5453"/>
                    </a:lnTo>
                    <a:lnTo>
                      <a:pt x="13697" y="6095"/>
                    </a:lnTo>
                    <a:lnTo>
                      <a:pt x="13697" y="6736"/>
                    </a:lnTo>
                    <a:lnTo>
                      <a:pt x="13814" y="7164"/>
                    </a:lnTo>
                    <a:lnTo>
                      <a:pt x="13873" y="7164"/>
                    </a:lnTo>
                    <a:lnTo>
                      <a:pt x="13990" y="7057"/>
                    </a:lnTo>
                    <a:lnTo>
                      <a:pt x="14165" y="6736"/>
                    </a:lnTo>
                    <a:lnTo>
                      <a:pt x="14224" y="6522"/>
                    </a:lnTo>
                    <a:lnTo>
                      <a:pt x="14282" y="6201"/>
                    </a:lnTo>
                    <a:lnTo>
                      <a:pt x="14341" y="5774"/>
                    </a:lnTo>
                    <a:lnTo>
                      <a:pt x="14458" y="4384"/>
                    </a:lnTo>
                    <a:lnTo>
                      <a:pt x="14634" y="4170"/>
                    </a:lnTo>
                    <a:lnTo>
                      <a:pt x="14634" y="3849"/>
                    </a:lnTo>
                    <a:lnTo>
                      <a:pt x="14751" y="3421"/>
                    </a:lnTo>
                    <a:lnTo>
                      <a:pt x="14809" y="3314"/>
                    </a:lnTo>
                    <a:lnTo>
                      <a:pt x="15043" y="3314"/>
                    </a:lnTo>
                    <a:lnTo>
                      <a:pt x="15102" y="3421"/>
                    </a:lnTo>
                    <a:lnTo>
                      <a:pt x="15219" y="3421"/>
                    </a:lnTo>
                    <a:lnTo>
                      <a:pt x="15336" y="3849"/>
                    </a:lnTo>
                    <a:lnTo>
                      <a:pt x="15336" y="4063"/>
                    </a:lnTo>
                    <a:lnTo>
                      <a:pt x="15219" y="4598"/>
                    </a:lnTo>
                    <a:lnTo>
                      <a:pt x="15219" y="4704"/>
                    </a:lnTo>
                    <a:lnTo>
                      <a:pt x="15160" y="4811"/>
                    </a:lnTo>
                    <a:lnTo>
                      <a:pt x="15160" y="4918"/>
                    </a:lnTo>
                    <a:lnTo>
                      <a:pt x="15336" y="4918"/>
                    </a:lnTo>
                    <a:lnTo>
                      <a:pt x="15453" y="4704"/>
                    </a:lnTo>
                    <a:lnTo>
                      <a:pt x="15453" y="4811"/>
                    </a:lnTo>
                    <a:lnTo>
                      <a:pt x="15629" y="5132"/>
                    </a:lnTo>
                    <a:lnTo>
                      <a:pt x="15687" y="5346"/>
                    </a:lnTo>
                    <a:lnTo>
                      <a:pt x="15687" y="6415"/>
                    </a:lnTo>
                    <a:lnTo>
                      <a:pt x="15629" y="6522"/>
                    </a:lnTo>
                    <a:lnTo>
                      <a:pt x="15629" y="6736"/>
                    </a:lnTo>
                    <a:lnTo>
                      <a:pt x="15687" y="6736"/>
                    </a:lnTo>
                    <a:lnTo>
                      <a:pt x="15687" y="6843"/>
                    </a:lnTo>
                    <a:lnTo>
                      <a:pt x="16390" y="6843"/>
                    </a:lnTo>
                    <a:lnTo>
                      <a:pt x="16624" y="6736"/>
                    </a:lnTo>
                    <a:lnTo>
                      <a:pt x="16858" y="6522"/>
                    </a:lnTo>
                    <a:lnTo>
                      <a:pt x="17034" y="6308"/>
                    </a:lnTo>
                    <a:lnTo>
                      <a:pt x="17268" y="5881"/>
                    </a:lnTo>
                    <a:lnTo>
                      <a:pt x="17326" y="5667"/>
                    </a:lnTo>
                    <a:lnTo>
                      <a:pt x="17385" y="5560"/>
                    </a:lnTo>
                    <a:lnTo>
                      <a:pt x="17326" y="5453"/>
                    </a:lnTo>
                    <a:lnTo>
                      <a:pt x="17326" y="5239"/>
                    </a:lnTo>
                    <a:lnTo>
                      <a:pt x="17443" y="5025"/>
                    </a:lnTo>
                    <a:lnTo>
                      <a:pt x="17560" y="4918"/>
                    </a:lnTo>
                    <a:lnTo>
                      <a:pt x="17736" y="4811"/>
                    </a:lnTo>
                    <a:lnTo>
                      <a:pt x="18146" y="4811"/>
                    </a:lnTo>
                    <a:lnTo>
                      <a:pt x="18321" y="4704"/>
                    </a:lnTo>
                    <a:lnTo>
                      <a:pt x="18439" y="4598"/>
                    </a:lnTo>
                    <a:lnTo>
                      <a:pt x="18731" y="4063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203" name="AutoShape 37"/>
              <p:cNvSpPr>
                <a:spLocks/>
              </p:cNvSpPr>
              <p:nvPr/>
            </p:nvSpPr>
            <p:spPr bwMode="auto">
              <a:xfrm>
                <a:off x="1860551" y="599745"/>
                <a:ext cx="153988" cy="10313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05" y="881"/>
                    </a:moveTo>
                    <a:lnTo>
                      <a:pt x="0" y="7053"/>
                    </a:lnTo>
                    <a:lnTo>
                      <a:pt x="2541" y="7934"/>
                    </a:lnTo>
                    <a:lnTo>
                      <a:pt x="3494" y="10579"/>
                    </a:lnTo>
                    <a:lnTo>
                      <a:pt x="952" y="11902"/>
                    </a:lnTo>
                    <a:lnTo>
                      <a:pt x="317" y="11902"/>
                    </a:lnTo>
                    <a:lnTo>
                      <a:pt x="317" y="12342"/>
                    </a:lnTo>
                    <a:lnTo>
                      <a:pt x="0" y="12783"/>
                    </a:lnTo>
                    <a:lnTo>
                      <a:pt x="0" y="13224"/>
                    </a:lnTo>
                    <a:lnTo>
                      <a:pt x="317" y="14106"/>
                    </a:lnTo>
                    <a:lnTo>
                      <a:pt x="952" y="14987"/>
                    </a:lnTo>
                    <a:lnTo>
                      <a:pt x="3176" y="14987"/>
                    </a:lnTo>
                    <a:lnTo>
                      <a:pt x="6035" y="18955"/>
                    </a:lnTo>
                    <a:lnTo>
                      <a:pt x="8894" y="21599"/>
                    </a:lnTo>
                    <a:lnTo>
                      <a:pt x="9211" y="21599"/>
                    </a:lnTo>
                    <a:lnTo>
                      <a:pt x="9529" y="21159"/>
                    </a:lnTo>
                    <a:lnTo>
                      <a:pt x="10482" y="20718"/>
                    </a:lnTo>
                    <a:lnTo>
                      <a:pt x="11752" y="19836"/>
                    </a:lnTo>
                    <a:lnTo>
                      <a:pt x="12070" y="19395"/>
                    </a:lnTo>
                    <a:lnTo>
                      <a:pt x="13023" y="18955"/>
                    </a:lnTo>
                    <a:lnTo>
                      <a:pt x="14294" y="18955"/>
                    </a:lnTo>
                    <a:lnTo>
                      <a:pt x="14929" y="19395"/>
                    </a:lnTo>
                    <a:lnTo>
                      <a:pt x="15247" y="19395"/>
                    </a:lnTo>
                    <a:lnTo>
                      <a:pt x="15882" y="18955"/>
                    </a:lnTo>
                    <a:lnTo>
                      <a:pt x="17470" y="17632"/>
                    </a:lnTo>
                    <a:lnTo>
                      <a:pt x="19376" y="15869"/>
                    </a:lnTo>
                    <a:lnTo>
                      <a:pt x="20964" y="12783"/>
                    </a:lnTo>
                    <a:lnTo>
                      <a:pt x="21599" y="9697"/>
                    </a:lnTo>
                    <a:lnTo>
                      <a:pt x="21599" y="9257"/>
                    </a:lnTo>
                    <a:lnTo>
                      <a:pt x="21282" y="8816"/>
                    </a:lnTo>
                    <a:lnTo>
                      <a:pt x="20647" y="7053"/>
                    </a:lnTo>
                    <a:lnTo>
                      <a:pt x="20011" y="6171"/>
                    </a:lnTo>
                    <a:lnTo>
                      <a:pt x="19694" y="5289"/>
                    </a:lnTo>
                    <a:lnTo>
                      <a:pt x="19058" y="4848"/>
                    </a:lnTo>
                    <a:lnTo>
                      <a:pt x="18741" y="4848"/>
                    </a:lnTo>
                    <a:lnTo>
                      <a:pt x="18741" y="2644"/>
                    </a:lnTo>
                    <a:lnTo>
                      <a:pt x="18105" y="2204"/>
                    </a:lnTo>
                    <a:lnTo>
                      <a:pt x="17788" y="2204"/>
                    </a:lnTo>
                    <a:lnTo>
                      <a:pt x="16835" y="1763"/>
                    </a:lnTo>
                    <a:lnTo>
                      <a:pt x="16517" y="2204"/>
                    </a:lnTo>
                    <a:lnTo>
                      <a:pt x="16200" y="2204"/>
                    </a:lnTo>
                    <a:lnTo>
                      <a:pt x="13658" y="3967"/>
                    </a:lnTo>
                    <a:lnTo>
                      <a:pt x="13023" y="4848"/>
                    </a:lnTo>
                    <a:lnTo>
                      <a:pt x="12388" y="4848"/>
                    </a:lnTo>
                    <a:lnTo>
                      <a:pt x="12070" y="4408"/>
                    </a:lnTo>
                    <a:lnTo>
                      <a:pt x="11435" y="3967"/>
                    </a:lnTo>
                    <a:lnTo>
                      <a:pt x="11117" y="3526"/>
                    </a:lnTo>
                    <a:lnTo>
                      <a:pt x="11117" y="3085"/>
                    </a:lnTo>
                    <a:lnTo>
                      <a:pt x="10164" y="1763"/>
                    </a:lnTo>
                    <a:lnTo>
                      <a:pt x="9529" y="1322"/>
                    </a:lnTo>
                    <a:lnTo>
                      <a:pt x="8894" y="1322"/>
                    </a:lnTo>
                    <a:lnTo>
                      <a:pt x="7941" y="1763"/>
                    </a:lnTo>
                    <a:lnTo>
                      <a:pt x="7305" y="2644"/>
                    </a:lnTo>
                    <a:lnTo>
                      <a:pt x="6988" y="3526"/>
                    </a:lnTo>
                    <a:lnTo>
                      <a:pt x="6988" y="6171"/>
                    </a:lnTo>
                    <a:lnTo>
                      <a:pt x="6352" y="6171"/>
                    </a:lnTo>
                    <a:lnTo>
                      <a:pt x="6035" y="5289"/>
                    </a:lnTo>
                    <a:lnTo>
                      <a:pt x="5400" y="4848"/>
                    </a:lnTo>
                    <a:lnTo>
                      <a:pt x="5400" y="3967"/>
                    </a:lnTo>
                    <a:lnTo>
                      <a:pt x="4447" y="2644"/>
                    </a:lnTo>
                    <a:lnTo>
                      <a:pt x="4129" y="1763"/>
                    </a:lnTo>
                    <a:lnTo>
                      <a:pt x="2858" y="0"/>
                    </a:lnTo>
                    <a:lnTo>
                      <a:pt x="2223" y="0"/>
                    </a:lnTo>
                    <a:lnTo>
                      <a:pt x="1905" y="88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204" name="AutoShape 38"/>
              <p:cNvSpPr>
                <a:spLocks/>
              </p:cNvSpPr>
              <p:nvPr/>
            </p:nvSpPr>
            <p:spPr bwMode="auto">
              <a:xfrm>
                <a:off x="1104901" y="1570760"/>
                <a:ext cx="15875" cy="4283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0"/>
                    </a:moveTo>
                    <a:lnTo>
                      <a:pt x="15428" y="0"/>
                    </a:lnTo>
                    <a:lnTo>
                      <a:pt x="15428" y="1080"/>
                    </a:lnTo>
                    <a:lnTo>
                      <a:pt x="12342" y="1080"/>
                    </a:lnTo>
                    <a:lnTo>
                      <a:pt x="6171" y="3239"/>
                    </a:lnTo>
                    <a:lnTo>
                      <a:pt x="3085" y="2160"/>
                    </a:lnTo>
                    <a:lnTo>
                      <a:pt x="0" y="2160"/>
                    </a:lnTo>
                    <a:lnTo>
                      <a:pt x="0" y="21599"/>
                    </a:lnTo>
                    <a:lnTo>
                      <a:pt x="12342" y="21599"/>
                    </a:lnTo>
                    <a:lnTo>
                      <a:pt x="12342" y="20519"/>
                    </a:lnTo>
                    <a:lnTo>
                      <a:pt x="18514" y="18359"/>
                    </a:lnTo>
                    <a:lnTo>
                      <a:pt x="18514" y="15119"/>
                    </a:lnTo>
                    <a:lnTo>
                      <a:pt x="15428" y="12959"/>
                    </a:lnTo>
                    <a:lnTo>
                      <a:pt x="15428" y="6479"/>
                    </a:lnTo>
                    <a:lnTo>
                      <a:pt x="18514" y="5400"/>
                    </a:lnTo>
                    <a:lnTo>
                      <a:pt x="18514" y="4319"/>
                    </a:lnTo>
                    <a:lnTo>
                      <a:pt x="21599" y="2160"/>
                    </a:lnTo>
                    <a:lnTo>
                      <a:pt x="2159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205" name="AutoShape 39"/>
              <p:cNvSpPr>
                <a:spLocks/>
              </p:cNvSpPr>
              <p:nvPr/>
            </p:nvSpPr>
            <p:spPr bwMode="auto">
              <a:xfrm>
                <a:off x="1355726" y="1570760"/>
                <a:ext cx="42863" cy="3014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273" y="0"/>
                    </a:moveTo>
                    <a:lnTo>
                      <a:pt x="3410" y="1542"/>
                    </a:lnTo>
                    <a:lnTo>
                      <a:pt x="3410" y="7714"/>
                    </a:lnTo>
                    <a:lnTo>
                      <a:pt x="1136" y="10800"/>
                    </a:lnTo>
                    <a:lnTo>
                      <a:pt x="0" y="10800"/>
                    </a:lnTo>
                    <a:lnTo>
                      <a:pt x="0" y="15428"/>
                    </a:lnTo>
                    <a:lnTo>
                      <a:pt x="1136" y="16971"/>
                    </a:lnTo>
                    <a:lnTo>
                      <a:pt x="1136" y="18514"/>
                    </a:lnTo>
                    <a:lnTo>
                      <a:pt x="2273" y="20057"/>
                    </a:lnTo>
                    <a:lnTo>
                      <a:pt x="2273" y="21600"/>
                    </a:lnTo>
                    <a:lnTo>
                      <a:pt x="4547" y="21600"/>
                    </a:lnTo>
                    <a:lnTo>
                      <a:pt x="6821" y="20057"/>
                    </a:lnTo>
                    <a:lnTo>
                      <a:pt x="7957" y="18514"/>
                    </a:lnTo>
                    <a:lnTo>
                      <a:pt x="9094" y="18514"/>
                    </a:lnTo>
                    <a:lnTo>
                      <a:pt x="10231" y="16971"/>
                    </a:lnTo>
                    <a:lnTo>
                      <a:pt x="11368" y="16971"/>
                    </a:lnTo>
                    <a:lnTo>
                      <a:pt x="12505" y="18514"/>
                    </a:lnTo>
                    <a:lnTo>
                      <a:pt x="18189" y="16971"/>
                    </a:lnTo>
                    <a:lnTo>
                      <a:pt x="21600" y="15428"/>
                    </a:lnTo>
                    <a:lnTo>
                      <a:pt x="21600" y="9257"/>
                    </a:lnTo>
                    <a:lnTo>
                      <a:pt x="18189" y="7714"/>
                    </a:lnTo>
                    <a:lnTo>
                      <a:pt x="13642" y="6171"/>
                    </a:lnTo>
                    <a:lnTo>
                      <a:pt x="17052" y="4628"/>
                    </a:lnTo>
                    <a:lnTo>
                      <a:pt x="11368" y="4628"/>
                    </a:lnTo>
                    <a:lnTo>
                      <a:pt x="7957" y="1542"/>
                    </a:lnTo>
                    <a:lnTo>
                      <a:pt x="2273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206" name="AutoShape 40"/>
              <p:cNvSpPr>
                <a:spLocks/>
              </p:cNvSpPr>
              <p:nvPr/>
            </p:nvSpPr>
            <p:spPr bwMode="auto">
              <a:xfrm>
                <a:off x="1312864" y="1564414"/>
                <a:ext cx="49212" cy="3807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5890" y="1200"/>
                    </a:moveTo>
                    <a:lnTo>
                      <a:pt x="3927" y="3600"/>
                    </a:lnTo>
                    <a:lnTo>
                      <a:pt x="5890" y="4800"/>
                    </a:lnTo>
                    <a:lnTo>
                      <a:pt x="8836" y="4800"/>
                    </a:lnTo>
                    <a:lnTo>
                      <a:pt x="10800" y="6000"/>
                    </a:lnTo>
                    <a:lnTo>
                      <a:pt x="11781" y="6000"/>
                    </a:lnTo>
                    <a:lnTo>
                      <a:pt x="12763" y="8399"/>
                    </a:lnTo>
                    <a:lnTo>
                      <a:pt x="12763" y="12000"/>
                    </a:lnTo>
                    <a:lnTo>
                      <a:pt x="11781" y="13199"/>
                    </a:lnTo>
                    <a:lnTo>
                      <a:pt x="9818" y="13199"/>
                    </a:lnTo>
                    <a:lnTo>
                      <a:pt x="4909" y="10800"/>
                    </a:lnTo>
                    <a:lnTo>
                      <a:pt x="1963" y="10800"/>
                    </a:lnTo>
                    <a:lnTo>
                      <a:pt x="0" y="13199"/>
                    </a:lnTo>
                    <a:lnTo>
                      <a:pt x="2945" y="15599"/>
                    </a:lnTo>
                    <a:lnTo>
                      <a:pt x="7854" y="15599"/>
                    </a:lnTo>
                    <a:lnTo>
                      <a:pt x="9818" y="16799"/>
                    </a:lnTo>
                    <a:lnTo>
                      <a:pt x="9818" y="17999"/>
                    </a:lnTo>
                    <a:lnTo>
                      <a:pt x="10800" y="19199"/>
                    </a:lnTo>
                    <a:lnTo>
                      <a:pt x="14727" y="21599"/>
                    </a:lnTo>
                    <a:lnTo>
                      <a:pt x="20618" y="21599"/>
                    </a:lnTo>
                    <a:lnTo>
                      <a:pt x="20618" y="17999"/>
                    </a:lnTo>
                    <a:lnTo>
                      <a:pt x="19636" y="17999"/>
                    </a:lnTo>
                    <a:lnTo>
                      <a:pt x="19636" y="16799"/>
                    </a:lnTo>
                    <a:lnTo>
                      <a:pt x="18654" y="14399"/>
                    </a:lnTo>
                    <a:lnTo>
                      <a:pt x="18654" y="10800"/>
                    </a:lnTo>
                    <a:lnTo>
                      <a:pt x="19636" y="10800"/>
                    </a:lnTo>
                    <a:lnTo>
                      <a:pt x="21599" y="8399"/>
                    </a:lnTo>
                    <a:lnTo>
                      <a:pt x="21599" y="4800"/>
                    </a:lnTo>
                    <a:lnTo>
                      <a:pt x="20618" y="2400"/>
                    </a:lnTo>
                    <a:lnTo>
                      <a:pt x="13745" y="1200"/>
                    </a:lnTo>
                    <a:lnTo>
                      <a:pt x="9818" y="0"/>
                    </a:lnTo>
                    <a:lnTo>
                      <a:pt x="5890" y="12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207" name="AutoShape 41"/>
              <p:cNvSpPr>
                <a:spLocks/>
              </p:cNvSpPr>
              <p:nvPr/>
            </p:nvSpPr>
            <p:spPr bwMode="auto">
              <a:xfrm>
                <a:off x="1158876" y="1516815"/>
                <a:ext cx="158750" cy="5553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777" y="800"/>
                    </a:moveTo>
                    <a:lnTo>
                      <a:pt x="2468" y="800"/>
                    </a:lnTo>
                    <a:lnTo>
                      <a:pt x="2160" y="1600"/>
                    </a:lnTo>
                    <a:lnTo>
                      <a:pt x="308" y="4000"/>
                    </a:lnTo>
                    <a:lnTo>
                      <a:pt x="0" y="5600"/>
                    </a:lnTo>
                    <a:lnTo>
                      <a:pt x="0" y="7200"/>
                    </a:lnTo>
                    <a:lnTo>
                      <a:pt x="617" y="8800"/>
                    </a:lnTo>
                    <a:lnTo>
                      <a:pt x="1851" y="8800"/>
                    </a:lnTo>
                    <a:lnTo>
                      <a:pt x="3702" y="6400"/>
                    </a:lnTo>
                    <a:lnTo>
                      <a:pt x="4937" y="6400"/>
                    </a:lnTo>
                    <a:lnTo>
                      <a:pt x="5245" y="7200"/>
                    </a:lnTo>
                    <a:lnTo>
                      <a:pt x="5554" y="7200"/>
                    </a:lnTo>
                    <a:lnTo>
                      <a:pt x="6788" y="8800"/>
                    </a:lnTo>
                    <a:lnTo>
                      <a:pt x="7405" y="8800"/>
                    </a:lnTo>
                    <a:lnTo>
                      <a:pt x="7714" y="9600"/>
                    </a:lnTo>
                    <a:lnTo>
                      <a:pt x="8022" y="9600"/>
                    </a:lnTo>
                    <a:lnTo>
                      <a:pt x="10491" y="12800"/>
                    </a:lnTo>
                    <a:lnTo>
                      <a:pt x="10800" y="13600"/>
                    </a:lnTo>
                    <a:lnTo>
                      <a:pt x="11417" y="14400"/>
                    </a:lnTo>
                    <a:lnTo>
                      <a:pt x="12342" y="16000"/>
                    </a:lnTo>
                    <a:lnTo>
                      <a:pt x="13577" y="16000"/>
                    </a:lnTo>
                    <a:lnTo>
                      <a:pt x="15120" y="16800"/>
                    </a:lnTo>
                    <a:lnTo>
                      <a:pt x="15120" y="18400"/>
                    </a:lnTo>
                    <a:lnTo>
                      <a:pt x="13885" y="20000"/>
                    </a:lnTo>
                    <a:lnTo>
                      <a:pt x="14194" y="21599"/>
                    </a:lnTo>
                    <a:lnTo>
                      <a:pt x="18822" y="21599"/>
                    </a:lnTo>
                    <a:lnTo>
                      <a:pt x="21291" y="20800"/>
                    </a:lnTo>
                    <a:lnTo>
                      <a:pt x="21291" y="20000"/>
                    </a:lnTo>
                    <a:lnTo>
                      <a:pt x="21599" y="19200"/>
                    </a:lnTo>
                    <a:lnTo>
                      <a:pt x="21599" y="18400"/>
                    </a:lnTo>
                    <a:lnTo>
                      <a:pt x="21291" y="16800"/>
                    </a:lnTo>
                    <a:lnTo>
                      <a:pt x="18514" y="13600"/>
                    </a:lnTo>
                    <a:lnTo>
                      <a:pt x="17897" y="12000"/>
                    </a:lnTo>
                    <a:lnTo>
                      <a:pt x="13268" y="8800"/>
                    </a:lnTo>
                    <a:lnTo>
                      <a:pt x="11725" y="8000"/>
                    </a:lnTo>
                    <a:lnTo>
                      <a:pt x="11417" y="8000"/>
                    </a:lnTo>
                    <a:lnTo>
                      <a:pt x="10800" y="6400"/>
                    </a:lnTo>
                    <a:lnTo>
                      <a:pt x="10182" y="5600"/>
                    </a:lnTo>
                    <a:lnTo>
                      <a:pt x="8948" y="3200"/>
                    </a:lnTo>
                    <a:lnTo>
                      <a:pt x="4937" y="0"/>
                    </a:lnTo>
                    <a:lnTo>
                      <a:pt x="2777" y="8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</p:grpSp>
        <p:grpSp>
          <p:nvGrpSpPr>
            <p:cNvPr id="5" name="Group 42"/>
            <p:cNvGrpSpPr>
              <a:grpSpLocks/>
            </p:cNvGrpSpPr>
            <p:nvPr/>
          </p:nvGrpSpPr>
          <p:grpSpPr bwMode="auto">
            <a:xfrm>
              <a:off x="5337142" y="315456"/>
              <a:ext cx="6159533" cy="2763884"/>
              <a:chOff x="382" y="-435"/>
              <a:chExt cx="2867027" cy="1188384"/>
            </a:xfrm>
            <a:grpFill/>
          </p:grpSpPr>
          <p:sp>
            <p:nvSpPr>
              <p:cNvPr id="125" name="AutoShape 43"/>
              <p:cNvSpPr>
                <a:spLocks/>
              </p:cNvSpPr>
              <p:nvPr/>
            </p:nvSpPr>
            <p:spPr bwMode="auto">
              <a:xfrm>
                <a:off x="994158" y="156641"/>
                <a:ext cx="95250" cy="19515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542" y="929"/>
                    </a:moveTo>
                    <a:lnTo>
                      <a:pt x="19542" y="696"/>
                    </a:lnTo>
                    <a:lnTo>
                      <a:pt x="19028" y="464"/>
                    </a:lnTo>
                    <a:lnTo>
                      <a:pt x="19028" y="0"/>
                    </a:lnTo>
                    <a:lnTo>
                      <a:pt x="17999" y="0"/>
                    </a:lnTo>
                    <a:lnTo>
                      <a:pt x="16971" y="232"/>
                    </a:lnTo>
                    <a:lnTo>
                      <a:pt x="16457" y="929"/>
                    </a:lnTo>
                    <a:lnTo>
                      <a:pt x="11314" y="3251"/>
                    </a:lnTo>
                    <a:lnTo>
                      <a:pt x="9771" y="3483"/>
                    </a:lnTo>
                    <a:lnTo>
                      <a:pt x="9257" y="3716"/>
                    </a:lnTo>
                    <a:lnTo>
                      <a:pt x="8742" y="3716"/>
                    </a:lnTo>
                    <a:lnTo>
                      <a:pt x="2057" y="10219"/>
                    </a:lnTo>
                    <a:lnTo>
                      <a:pt x="514" y="13470"/>
                    </a:lnTo>
                    <a:lnTo>
                      <a:pt x="514" y="14400"/>
                    </a:lnTo>
                    <a:lnTo>
                      <a:pt x="0" y="17187"/>
                    </a:lnTo>
                    <a:lnTo>
                      <a:pt x="1028" y="17187"/>
                    </a:lnTo>
                    <a:lnTo>
                      <a:pt x="1542" y="17419"/>
                    </a:lnTo>
                    <a:lnTo>
                      <a:pt x="1542" y="17883"/>
                    </a:lnTo>
                    <a:lnTo>
                      <a:pt x="1028" y="18348"/>
                    </a:lnTo>
                    <a:lnTo>
                      <a:pt x="1028" y="19974"/>
                    </a:lnTo>
                    <a:lnTo>
                      <a:pt x="1542" y="20438"/>
                    </a:lnTo>
                    <a:lnTo>
                      <a:pt x="2057" y="20670"/>
                    </a:lnTo>
                    <a:lnTo>
                      <a:pt x="5142" y="20670"/>
                    </a:lnTo>
                    <a:lnTo>
                      <a:pt x="6171" y="20903"/>
                    </a:lnTo>
                    <a:lnTo>
                      <a:pt x="7199" y="21367"/>
                    </a:lnTo>
                    <a:lnTo>
                      <a:pt x="10285" y="21600"/>
                    </a:lnTo>
                    <a:lnTo>
                      <a:pt x="10800" y="21600"/>
                    </a:lnTo>
                    <a:lnTo>
                      <a:pt x="11314" y="21367"/>
                    </a:lnTo>
                    <a:lnTo>
                      <a:pt x="11828" y="21367"/>
                    </a:lnTo>
                    <a:lnTo>
                      <a:pt x="12342" y="20903"/>
                    </a:lnTo>
                    <a:lnTo>
                      <a:pt x="12857" y="20670"/>
                    </a:lnTo>
                    <a:lnTo>
                      <a:pt x="12342" y="20206"/>
                    </a:lnTo>
                    <a:lnTo>
                      <a:pt x="11314" y="19741"/>
                    </a:lnTo>
                    <a:lnTo>
                      <a:pt x="10285" y="19741"/>
                    </a:lnTo>
                    <a:lnTo>
                      <a:pt x="7714" y="18348"/>
                    </a:lnTo>
                    <a:lnTo>
                      <a:pt x="7714" y="17883"/>
                    </a:lnTo>
                    <a:lnTo>
                      <a:pt x="6685" y="16490"/>
                    </a:lnTo>
                    <a:lnTo>
                      <a:pt x="6685" y="13006"/>
                    </a:lnTo>
                    <a:lnTo>
                      <a:pt x="8742" y="11612"/>
                    </a:lnTo>
                    <a:lnTo>
                      <a:pt x="8742" y="11380"/>
                    </a:lnTo>
                    <a:lnTo>
                      <a:pt x="8228" y="11148"/>
                    </a:lnTo>
                    <a:lnTo>
                      <a:pt x="8228" y="10683"/>
                    </a:lnTo>
                    <a:lnTo>
                      <a:pt x="8742" y="9987"/>
                    </a:lnTo>
                    <a:lnTo>
                      <a:pt x="9257" y="9522"/>
                    </a:lnTo>
                    <a:lnTo>
                      <a:pt x="10285" y="8825"/>
                    </a:lnTo>
                    <a:lnTo>
                      <a:pt x="12342" y="7664"/>
                    </a:lnTo>
                    <a:lnTo>
                      <a:pt x="14399" y="5806"/>
                    </a:lnTo>
                    <a:lnTo>
                      <a:pt x="16971" y="4180"/>
                    </a:lnTo>
                    <a:lnTo>
                      <a:pt x="21600" y="2554"/>
                    </a:lnTo>
                    <a:lnTo>
                      <a:pt x="19542" y="92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26" name="AutoShape 44"/>
              <p:cNvSpPr>
                <a:spLocks/>
              </p:cNvSpPr>
              <p:nvPr/>
            </p:nvSpPr>
            <p:spPr bwMode="auto">
              <a:xfrm>
                <a:off x="783020" y="26537"/>
                <a:ext cx="123825" cy="7298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5105" y="3085"/>
                    </a:moveTo>
                    <a:lnTo>
                      <a:pt x="5105" y="3702"/>
                    </a:lnTo>
                    <a:lnTo>
                      <a:pt x="4712" y="4937"/>
                    </a:lnTo>
                    <a:lnTo>
                      <a:pt x="3927" y="6171"/>
                    </a:lnTo>
                    <a:lnTo>
                      <a:pt x="2749" y="6788"/>
                    </a:lnTo>
                    <a:lnTo>
                      <a:pt x="1963" y="7405"/>
                    </a:lnTo>
                    <a:lnTo>
                      <a:pt x="785" y="7405"/>
                    </a:lnTo>
                    <a:lnTo>
                      <a:pt x="392" y="8639"/>
                    </a:lnTo>
                    <a:lnTo>
                      <a:pt x="0" y="9257"/>
                    </a:lnTo>
                    <a:lnTo>
                      <a:pt x="0" y="9874"/>
                    </a:lnTo>
                    <a:lnTo>
                      <a:pt x="392" y="10491"/>
                    </a:lnTo>
                    <a:lnTo>
                      <a:pt x="1570" y="11725"/>
                    </a:lnTo>
                    <a:lnTo>
                      <a:pt x="4319" y="12960"/>
                    </a:lnTo>
                    <a:lnTo>
                      <a:pt x="6676" y="13577"/>
                    </a:lnTo>
                    <a:lnTo>
                      <a:pt x="9818" y="13577"/>
                    </a:lnTo>
                    <a:lnTo>
                      <a:pt x="13352" y="21600"/>
                    </a:lnTo>
                    <a:lnTo>
                      <a:pt x="16887" y="17279"/>
                    </a:lnTo>
                    <a:lnTo>
                      <a:pt x="17279" y="13577"/>
                    </a:lnTo>
                    <a:lnTo>
                      <a:pt x="18850" y="12342"/>
                    </a:lnTo>
                    <a:lnTo>
                      <a:pt x="21207" y="8639"/>
                    </a:lnTo>
                    <a:lnTo>
                      <a:pt x="21600" y="6788"/>
                    </a:lnTo>
                    <a:lnTo>
                      <a:pt x="21600" y="4937"/>
                    </a:lnTo>
                    <a:lnTo>
                      <a:pt x="20814" y="4937"/>
                    </a:lnTo>
                    <a:lnTo>
                      <a:pt x="20421" y="5554"/>
                    </a:lnTo>
                    <a:lnTo>
                      <a:pt x="20029" y="5554"/>
                    </a:lnTo>
                    <a:lnTo>
                      <a:pt x="19243" y="6788"/>
                    </a:lnTo>
                    <a:lnTo>
                      <a:pt x="15709" y="9874"/>
                    </a:lnTo>
                    <a:lnTo>
                      <a:pt x="12174" y="9257"/>
                    </a:lnTo>
                    <a:lnTo>
                      <a:pt x="11781" y="8639"/>
                    </a:lnTo>
                    <a:lnTo>
                      <a:pt x="11389" y="8639"/>
                    </a:lnTo>
                    <a:lnTo>
                      <a:pt x="10996" y="7405"/>
                    </a:lnTo>
                    <a:lnTo>
                      <a:pt x="10996" y="5554"/>
                    </a:lnTo>
                    <a:lnTo>
                      <a:pt x="11389" y="4319"/>
                    </a:lnTo>
                    <a:lnTo>
                      <a:pt x="12174" y="3085"/>
                    </a:lnTo>
                    <a:lnTo>
                      <a:pt x="12567" y="1851"/>
                    </a:lnTo>
                    <a:lnTo>
                      <a:pt x="12960" y="1234"/>
                    </a:lnTo>
                    <a:lnTo>
                      <a:pt x="12174" y="617"/>
                    </a:lnTo>
                    <a:lnTo>
                      <a:pt x="10603" y="617"/>
                    </a:lnTo>
                    <a:lnTo>
                      <a:pt x="8639" y="0"/>
                    </a:lnTo>
                    <a:lnTo>
                      <a:pt x="6676" y="1234"/>
                    </a:lnTo>
                    <a:lnTo>
                      <a:pt x="5105" y="308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27" name="AutoShape 45"/>
              <p:cNvSpPr>
                <a:spLocks/>
              </p:cNvSpPr>
              <p:nvPr/>
            </p:nvSpPr>
            <p:spPr bwMode="auto">
              <a:xfrm>
                <a:off x="375032" y="40818"/>
                <a:ext cx="125412" cy="23164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639" y="2159"/>
                    </a:moveTo>
                    <a:lnTo>
                      <a:pt x="8639" y="1963"/>
                    </a:lnTo>
                    <a:lnTo>
                      <a:pt x="7069" y="1963"/>
                    </a:lnTo>
                    <a:lnTo>
                      <a:pt x="6676" y="2159"/>
                    </a:lnTo>
                    <a:lnTo>
                      <a:pt x="6676" y="2749"/>
                    </a:lnTo>
                    <a:lnTo>
                      <a:pt x="6283" y="3141"/>
                    </a:lnTo>
                    <a:lnTo>
                      <a:pt x="6283" y="3338"/>
                    </a:lnTo>
                    <a:lnTo>
                      <a:pt x="4712" y="3338"/>
                    </a:lnTo>
                    <a:lnTo>
                      <a:pt x="3927" y="2552"/>
                    </a:lnTo>
                    <a:lnTo>
                      <a:pt x="2356" y="1767"/>
                    </a:lnTo>
                    <a:lnTo>
                      <a:pt x="1570" y="1570"/>
                    </a:lnTo>
                    <a:lnTo>
                      <a:pt x="392" y="1570"/>
                    </a:lnTo>
                    <a:lnTo>
                      <a:pt x="0" y="3534"/>
                    </a:lnTo>
                    <a:lnTo>
                      <a:pt x="0" y="6283"/>
                    </a:lnTo>
                    <a:lnTo>
                      <a:pt x="785" y="7069"/>
                    </a:lnTo>
                    <a:lnTo>
                      <a:pt x="1570" y="8247"/>
                    </a:lnTo>
                    <a:lnTo>
                      <a:pt x="2749" y="9229"/>
                    </a:lnTo>
                    <a:lnTo>
                      <a:pt x="5498" y="11192"/>
                    </a:lnTo>
                    <a:lnTo>
                      <a:pt x="8247" y="10407"/>
                    </a:lnTo>
                    <a:lnTo>
                      <a:pt x="8639" y="9229"/>
                    </a:lnTo>
                    <a:lnTo>
                      <a:pt x="11389" y="9229"/>
                    </a:lnTo>
                    <a:lnTo>
                      <a:pt x="11389" y="9425"/>
                    </a:lnTo>
                    <a:lnTo>
                      <a:pt x="11781" y="9425"/>
                    </a:lnTo>
                    <a:lnTo>
                      <a:pt x="12567" y="9621"/>
                    </a:lnTo>
                    <a:lnTo>
                      <a:pt x="12959" y="9818"/>
                    </a:lnTo>
                    <a:lnTo>
                      <a:pt x="13352" y="10210"/>
                    </a:lnTo>
                    <a:lnTo>
                      <a:pt x="13352" y="10407"/>
                    </a:lnTo>
                    <a:lnTo>
                      <a:pt x="12959" y="10800"/>
                    </a:lnTo>
                    <a:lnTo>
                      <a:pt x="10603" y="11978"/>
                    </a:lnTo>
                    <a:lnTo>
                      <a:pt x="9032" y="12370"/>
                    </a:lnTo>
                    <a:lnTo>
                      <a:pt x="7854" y="12567"/>
                    </a:lnTo>
                    <a:lnTo>
                      <a:pt x="7069" y="12959"/>
                    </a:lnTo>
                    <a:lnTo>
                      <a:pt x="7069" y="14138"/>
                    </a:lnTo>
                    <a:lnTo>
                      <a:pt x="9032" y="14923"/>
                    </a:lnTo>
                    <a:lnTo>
                      <a:pt x="7069" y="16298"/>
                    </a:lnTo>
                    <a:lnTo>
                      <a:pt x="7461" y="16690"/>
                    </a:lnTo>
                    <a:lnTo>
                      <a:pt x="8639" y="18458"/>
                    </a:lnTo>
                    <a:lnTo>
                      <a:pt x="10210" y="19243"/>
                    </a:lnTo>
                    <a:lnTo>
                      <a:pt x="10996" y="19832"/>
                    </a:lnTo>
                    <a:lnTo>
                      <a:pt x="11389" y="20421"/>
                    </a:lnTo>
                    <a:lnTo>
                      <a:pt x="12174" y="20814"/>
                    </a:lnTo>
                    <a:lnTo>
                      <a:pt x="12959" y="21599"/>
                    </a:lnTo>
                    <a:lnTo>
                      <a:pt x="14530" y="20814"/>
                    </a:lnTo>
                    <a:lnTo>
                      <a:pt x="16494" y="16887"/>
                    </a:lnTo>
                    <a:lnTo>
                      <a:pt x="17672" y="15119"/>
                    </a:lnTo>
                    <a:lnTo>
                      <a:pt x="18458" y="12959"/>
                    </a:lnTo>
                    <a:lnTo>
                      <a:pt x="20421" y="9621"/>
                    </a:lnTo>
                    <a:lnTo>
                      <a:pt x="20814" y="9425"/>
                    </a:lnTo>
                    <a:lnTo>
                      <a:pt x="21207" y="8639"/>
                    </a:lnTo>
                    <a:lnTo>
                      <a:pt x="21600" y="7461"/>
                    </a:lnTo>
                    <a:lnTo>
                      <a:pt x="21207" y="6480"/>
                    </a:lnTo>
                    <a:lnTo>
                      <a:pt x="19243" y="4516"/>
                    </a:lnTo>
                    <a:lnTo>
                      <a:pt x="20029" y="2159"/>
                    </a:lnTo>
                    <a:lnTo>
                      <a:pt x="13745" y="0"/>
                    </a:lnTo>
                    <a:lnTo>
                      <a:pt x="13745" y="196"/>
                    </a:lnTo>
                    <a:lnTo>
                      <a:pt x="12959" y="196"/>
                    </a:lnTo>
                    <a:lnTo>
                      <a:pt x="12567" y="392"/>
                    </a:lnTo>
                    <a:lnTo>
                      <a:pt x="11781" y="589"/>
                    </a:lnTo>
                    <a:lnTo>
                      <a:pt x="11389" y="785"/>
                    </a:lnTo>
                    <a:lnTo>
                      <a:pt x="11389" y="1767"/>
                    </a:lnTo>
                    <a:lnTo>
                      <a:pt x="10996" y="2356"/>
                    </a:lnTo>
                    <a:lnTo>
                      <a:pt x="10996" y="2552"/>
                    </a:lnTo>
                    <a:lnTo>
                      <a:pt x="10603" y="2945"/>
                    </a:lnTo>
                    <a:lnTo>
                      <a:pt x="8639" y="215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28" name="AutoShape 46"/>
              <p:cNvSpPr>
                <a:spLocks/>
              </p:cNvSpPr>
              <p:nvPr/>
            </p:nvSpPr>
            <p:spPr bwMode="auto">
              <a:xfrm>
                <a:off x="475044" y="-435"/>
                <a:ext cx="138113" cy="9837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895" y="0"/>
                    </a:moveTo>
                    <a:lnTo>
                      <a:pt x="2478" y="4595"/>
                    </a:lnTo>
                    <a:lnTo>
                      <a:pt x="0" y="7353"/>
                    </a:lnTo>
                    <a:lnTo>
                      <a:pt x="708" y="9191"/>
                    </a:lnTo>
                    <a:lnTo>
                      <a:pt x="1062" y="10570"/>
                    </a:lnTo>
                    <a:lnTo>
                      <a:pt x="2478" y="12408"/>
                    </a:lnTo>
                    <a:lnTo>
                      <a:pt x="3186" y="12408"/>
                    </a:lnTo>
                    <a:lnTo>
                      <a:pt x="3895" y="12868"/>
                    </a:lnTo>
                    <a:lnTo>
                      <a:pt x="4957" y="12868"/>
                    </a:lnTo>
                    <a:lnTo>
                      <a:pt x="5665" y="13787"/>
                    </a:lnTo>
                    <a:lnTo>
                      <a:pt x="5311" y="14246"/>
                    </a:lnTo>
                    <a:lnTo>
                      <a:pt x="4957" y="15165"/>
                    </a:lnTo>
                    <a:lnTo>
                      <a:pt x="4249" y="16085"/>
                    </a:lnTo>
                    <a:lnTo>
                      <a:pt x="4249" y="17004"/>
                    </a:lnTo>
                    <a:lnTo>
                      <a:pt x="4603" y="18382"/>
                    </a:lnTo>
                    <a:lnTo>
                      <a:pt x="5665" y="19761"/>
                    </a:lnTo>
                    <a:lnTo>
                      <a:pt x="6373" y="20221"/>
                    </a:lnTo>
                    <a:lnTo>
                      <a:pt x="11331" y="20221"/>
                    </a:lnTo>
                    <a:lnTo>
                      <a:pt x="14163" y="21599"/>
                    </a:lnTo>
                    <a:lnTo>
                      <a:pt x="21599" y="9651"/>
                    </a:lnTo>
                    <a:lnTo>
                      <a:pt x="20183" y="5514"/>
                    </a:lnTo>
                    <a:lnTo>
                      <a:pt x="16288" y="4595"/>
                    </a:lnTo>
                    <a:lnTo>
                      <a:pt x="9914" y="0"/>
                    </a:lnTo>
                    <a:lnTo>
                      <a:pt x="9560" y="2757"/>
                    </a:lnTo>
                    <a:lnTo>
                      <a:pt x="7081" y="2297"/>
                    </a:lnTo>
                    <a:lnTo>
                      <a:pt x="3895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29" name="AutoShape 47"/>
              <p:cNvSpPr>
                <a:spLocks/>
              </p:cNvSpPr>
              <p:nvPr/>
            </p:nvSpPr>
            <p:spPr bwMode="auto">
              <a:xfrm>
                <a:off x="506794" y="140775"/>
                <a:ext cx="52388" cy="4759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147" y="3756"/>
                    </a:moveTo>
                    <a:lnTo>
                      <a:pt x="13147" y="2817"/>
                    </a:lnTo>
                    <a:lnTo>
                      <a:pt x="12208" y="1878"/>
                    </a:lnTo>
                    <a:lnTo>
                      <a:pt x="10330" y="939"/>
                    </a:lnTo>
                    <a:lnTo>
                      <a:pt x="9391" y="0"/>
                    </a:lnTo>
                    <a:lnTo>
                      <a:pt x="4695" y="0"/>
                    </a:lnTo>
                    <a:lnTo>
                      <a:pt x="3756" y="1878"/>
                    </a:lnTo>
                    <a:lnTo>
                      <a:pt x="1878" y="3756"/>
                    </a:lnTo>
                    <a:lnTo>
                      <a:pt x="939" y="5634"/>
                    </a:lnTo>
                    <a:lnTo>
                      <a:pt x="939" y="7513"/>
                    </a:lnTo>
                    <a:lnTo>
                      <a:pt x="0" y="9391"/>
                    </a:lnTo>
                    <a:lnTo>
                      <a:pt x="939" y="11269"/>
                    </a:lnTo>
                    <a:lnTo>
                      <a:pt x="5634" y="15965"/>
                    </a:lnTo>
                    <a:lnTo>
                      <a:pt x="7513" y="16904"/>
                    </a:lnTo>
                    <a:lnTo>
                      <a:pt x="9391" y="18782"/>
                    </a:lnTo>
                    <a:lnTo>
                      <a:pt x="13147" y="20660"/>
                    </a:lnTo>
                    <a:lnTo>
                      <a:pt x="13147" y="21600"/>
                    </a:lnTo>
                    <a:lnTo>
                      <a:pt x="13147" y="20660"/>
                    </a:lnTo>
                    <a:lnTo>
                      <a:pt x="15026" y="20660"/>
                    </a:lnTo>
                    <a:lnTo>
                      <a:pt x="16904" y="18782"/>
                    </a:lnTo>
                    <a:lnTo>
                      <a:pt x="18782" y="17843"/>
                    </a:lnTo>
                    <a:lnTo>
                      <a:pt x="19721" y="15965"/>
                    </a:lnTo>
                    <a:lnTo>
                      <a:pt x="21600" y="15026"/>
                    </a:lnTo>
                    <a:lnTo>
                      <a:pt x="21600" y="11269"/>
                    </a:lnTo>
                    <a:lnTo>
                      <a:pt x="15026" y="4695"/>
                    </a:lnTo>
                    <a:lnTo>
                      <a:pt x="13147" y="375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0" name="AutoShape 48"/>
              <p:cNvSpPr>
                <a:spLocks/>
              </p:cNvSpPr>
              <p:nvPr/>
            </p:nvSpPr>
            <p:spPr bwMode="auto">
              <a:xfrm>
                <a:off x="238507" y="315304"/>
                <a:ext cx="381000" cy="43315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957" y="2726"/>
                    </a:moveTo>
                    <a:lnTo>
                      <a:pt x="19414" y="2306"/>
                    </a:lnTo>
                    <a:lnTo>
                      <a:pt x="19157" y="2306"/>
                    </a:lnTo>
                    <a:lnTo>
                      <a:pt x="20185" y="2201"/>
                    </a:lnTo>
                    <a:lnTo>
                      <a:pt x="20057" y="2201"/>
                    </a:lnTo>
                    <a:lnTo>
                      <a:pt x="20442" y="2201"/>
                    </a:lnTo>
                    <a:lnTo>
                      <a:pt x="20957" y="1992"/>
                    </a:lnTo>
                    <a:lnTo>
                      <a:pt x="21085" y="1782"/>
                    </a:lnTo>
                    <a:lnTo>
                      <a:pt x="21085" y="1572"/>
                    </a:lnTo>
                    <a:lnTo>
                      <a:pt x="21214" y="1363"/>
                    </a:lnTo>
                    <a:lnTo>
                      <a:pt x="21214" y="1153"/>
                    </a:lnTo>
                    <a:lnTo>
                      <a:pt x="20185" y="1048"/>
                    </a:lnTo>
                    <a:lnTo>
                      <a:pt x="19928" y="524"/>
                    </a:lnTo>
                    <a:lnTo>
                      <a:pt x="19414" y="209"/>
                    </a:lnTo>
                    <a:lnTo>
                      <a:pt x="18128" y="314"/>
                    </a:lnTo>
                    <a:lnTo>
                      <a:pt x="16585" y="0"/>
                    </a:lnTo>
                    <a:lnTo>
                      <a:pt x="16457" y="209"/>
                    </a:lnTo>
                    <a:lnTo>
                      <a:pt x="16071" y="419"/>
                    </a:lnTo>
                    <a:lnTo>
                      <a:pt x="15814" y="629"/>
                    </a:lnTo>
                    <a:lnTo>
                      <a:pt x="15428" y="629"/>
                    </a:lnTo>
                    <a:lnTo>
                      <a:pt x="15042" y="733"/>
                    </a:lnTo>
                    <a:lnTo>
                      <a:pt x="14785" y="733"/>
                    </a:lnTo>
                    <a:lnTo>
                      <a:pt x="14399" y="838"/>
                    </a:lnTo>
                    <a:lnTo>
                      <a:pt x="14142" y="943"/>
                    </a:lnTo>
                    <a:lnTo>
                      <a:pt x="13885" y="1153"/>
                    </a:lnTo>
                    <a:lnTo>
                      <a:pt x="13757" y="1363"/>
                    </a:lnTo>
                    <a:lnTo>
                      <a:pt x="13757" y="1467"/>
                    </a:lnTo>
                    <a:lnTo>
                      <a:pt x="13628" y="1677"/>
                    </a:lnTo>
                    <a:lnTo>
                      <a:pt x="13371" y="1887"/>
                    </a:lnTo>
                    <a:lnTo>
                      <a:pt x="12599" y="1887"/>
                    </a:lnTo>
                    <a:lnTo>
                      <a:pt x="12599" y="1782"/>
                    </a:lnTo>
                    <a:lnTo>
                      <a:pt x="12471" y="1782"/>
                    </a:lnTo>
                    <a:lnTo>
                      <a:pt x="12471" y="1677"/>
                    </a:lnTo>
                    <a:lnTo>
                      <a:pt x="12214" y="1677"/>
                    </a:lnTo>
                    <a:lnTo>
                      <a:pt x="11957" y="1782"/>
                    </a:lnTo>
                    <a:lnTo>
                      <a:pt x="11442" y="2201"/>
                    </a:lnTo>
                    <a:lnTo>
                      <a:pt x="11314" y="2411"/>
                    </a:lnTo>
                    <a:lnTo>
                      <a:pt x="11314" y="2516"/>
                    </a:lnTo>
                    <a:lnTo>
                      <a:pt x="11185" y="2516"/>
                    </a:lnTo>
                    <a:lnTo>
                      <a:pt x="10800" y="2831"/>
                    </a:lnTo>
                    <a:lnTo>
                      <a:pt x="10414" y="2935"/>
                    </a:lnTo>
                    <a:lnTo>
                      <a:pt x="10157" y="3040"/>
                    </a:lnTo>
                    <a:lnTo>
                      <a:pt x="9900" y="3250"/>
                    </a:lnTo>
                    <a:lnTo>
                      <a:pt x="9642" y="3669"/>
                    </a:lnTo>
                    <a:lnTo>
                      <a:pt x="9514" y="3984"/>
                    </a:lnTo>
                    <a:lnTo>
                      <a:pt x="9514" y="4299"/>
                    </a:lnTo>
                    <a:lnTo>
                      <a:pt x="8742" y="5976"/>
                    </a:lnTo>
                    <a:lnTo>
                      <a:pt x="7457" y="7864"/>
                    </a:lnTo>
                    <a:lnTo>
                      <a:pt x="7328" y="7968"/>
                    </a:lnTo>
                    <a:lnTo>
                      <a:pt x="7071" y="8388"/>
                    </a:lnTo>
                    <a:lnTo>
                      <a:pt x="6557" y="9436"/>
                    </a:lnTo>
                    <a:lnTo>
                      <a:pt x="6428" y="9646"/>
                    </a:lnTo>
                    <a:lnTo>
                      <a:pt x="6299" y="9961"/>
                    </a:lnTo>
                    <a:lnTo>
                      <a:pt x="6042" y="10485"/>
                    </a:lnTo>
                    <a:lnTo>
                      <a:pt x="5271" y="11743"/>
                    </a:lnTo>
                    <a:lnTo>
                      <a:pt x="4628" y="12058"/>
                    </a:lnTo>
                    <a:lnTo>
                      <a:pt x="3471" y="13316"/>
                    </a:lnTo>
                    <a:lnTo>
                      <a:pt x="2057" y="14050"/>
                    </a:lnTo>
                    <a:lnTo>
                      <a:pt x="1928" y="14365"/>
                    </a:lnTo>
                    <a:lnTo>
                      <a:pt x="1671" y="14574"/>
                    </a:lnTo>
                    <a:lnTo>
                      <a:pt x="1414" y="14679"/>
                    </a:lnTo>
                    <a:lnTo>
                      <a:pt x="1285" y="14784"/>
                    </a:lnTo>
                    <a:lnTo>
                      <a:pt x="1028" y="14889"/>
                    </a:lnTo>
                    <a:lnTo>
                      <a:pt x="899" y="15203"/>
                    </a:lnTo>
                    <a:lnTo>
                      <a:pt x="642" y="15623"/>
                    </a:lnTo>
                    <a:lnTo>
                      <a:pt x="514" y="15728"/>
                    </a:lnTo>
                    <a:lnTo>
                      <a:pt x="128" y="16357"/>
                    </a:lnTo>
                    <a:lnTo>
                      <a:pt x="0" y="16986"/>
                    </a:lnTo>
                    <a:lnTo>
                      <a:pt x="257" y="17510"/>
                    </a:lnTo>
                    <a:lnTo>
                      <a:pt x="642" y="17825"/>
                    </a:lnTo>
                    <a:lnTo>
                      <a:pt x="642" y="18034"/>
                    </a:lnTo>
                    <a:lnTo>
                      <a:pt x="514" y="18034"/>
                    </a:lnTo>
                    <a:lnTo>
                      <a:pt x="514" y="18139"/>
                    </a:lnTo>
                    <a:lnTo>
                      <a:pt x="385" y="18244"/>
                    </a:lnTo>
                    <a:lnTo>
                      <a:pt x="385" y="18768"/>
                    </a:lnTo>
                    <a:lnTo>
                      <a:pt x="128" y="19083"/>
                    </a:lnTo>
                    <a:lnTo>
                      <a:pt x="128" y="19922"/>
                    </a:lnTo>
                    <a:lnTo>
                      <a:pt x="257" y="20132"/>
                    </a:lnTo>
                    <a:lnTo>
                      <a:pt x="257" y="20341"/>
                    </a:lnTo>
                    <a:lnTo>
                      <a:pt x="514" y="20656"/>
                    </a:lnTo>
                    <a:lnTo>
                      <a:pt x="642" y="20970"/>
                    </a:lnTo>
                    <a:lnTo>
                      <a:pt x="1028" y="21180"/>
                    </a:lnTo>
                    <a:lnTo>
                      <a:pt x="1285" y="21390"/>
                    </a:lnTo>
                    <a:lnTo>
                      <a:pt x="1799" y="21600"/>
                    </a:lnTo>
                    <a:lnTo>
                      <a:pt x="1928" y="21600"/>
                    </a:lnTo>
                    <a:lnTo>
                      <a:pt x="2314" y="21495"/>
                    </a:lnTo>
                    <a:lnTo>
                      <a:pt x="2699" y="21285"/>
                    </a:lnTo>
                    <a:lnTo>
                      <a:pt x="3214" y="20866"/>
                    </a:lnTo>
                    <a:lnTo>
                      <a:pt x="3342" y="20656"/>
                    </a:lnTo>
                    <a:lnTo>
                      <a:pt x="3471" y="20551"/>
                    </a:lnTo>
                    <a:lnTo>
                      <a:pt x="3471" y="20132"/>
                    </a:lnTo>
                    <a:lnTo>
                      <a:pt x="3599" y="19922"/>
                    </a:lnTo>
                    <a:lnTo>
                      <a:pt x="3599" y="19712"/>
                    </a:lnTo>
                    <a:lnTo>
                      <a:pt x="3728" y="19712"/>
                    </a:lnTo>
                    <a:lnTo>
                      <a:pt x="3728" y="19607"/>
                    </a:lnTo>
                    <a:lnTo>
                      <a:pt x="3985" y="19607"/>
                    </a:lnTo>
                    <a:lnTo>
                      <a:pt x="4114" y="19502"/>
                    </a:lnTo>
                    <a:lnTo>
                      <a:pt x="4371" y="19398"/>
                    </a:lnTo>
                    <a:lnTo>
                      <a:pt x="4499" y="19293"/>
                    </a:lnTo>
                    <a:lnTo>
                      <a:pt x="4499" y="19188"/>
                    </a:lnTo>
                    <a:lnTo>
                      <a:pt x="4628" y="19083"/>
                    </a:lnTo>
                    <a:lnTo>
                      <a:pt x="4885" y="18768"/>
                    </a:lnTo>
                    <a:lnTo>
                      <a:pt x="5142" y="18139"/>
                    </a:lnTo>
                    <a:lnTo>
                      <a:pt x="5142" y="17825"/>
                    </a:lnTo>
                    <a:lnTo>
                      <a:pt x="5528" y="18664"/>
                    </a:lnTo>
                    <a:lnTo>
                      <a:pt x="5657" y="18664"/>
                    </a:lnTo>
                    <a:lnTo>
                      <a:pt x="5914" y="18559"/>
                    </a:lnTo>
                    <a:lnTo>
                      <a:pt x="6171" y="18349"/>
                    </a:lnTo>
                    <a:lnTo>
                      <a:pt x="6428" y="17825"/>
                    </a:lnTo>
                    <a:lnTo>
                      <a:pt x="6428" y="16042"/>
                    </a:lnTo>
                    <a:lnTo>
                      <a:pt x="6557" y="15203"/>
                    </a:lnTo>
                    <a:lnTo>
                      <a:pt x="6557" y="13631"/>
                    </a:lnTo>
                    <a:lnTo>
                      <a:pt x="6299" y="13316"/>
                    </a:lnTo>
                    <a:lnTo>
                      <a:pt x="7714" y="12582"/>
                    </a:lnTo>
                    <a:lnTo>
                      <a:pt x="7842" y="11324"/>
                    </a:lnTo>
                    <a:lnTo>
                      <a:pt x="8485" y="10380"/>
                    </a:lnTo>
                    <a:lnTo>
                      <a:pt x="8614" y="9541"/>
                    </a:lnTo>
                    <a:lnTo>
                      <a:pt x="8871" y="9541"/>
                    </a:lnTo>
                    <a:lnTo>
                      <a:pt x="9000" y="9332"/>
                    </a:lnTo>
                    <a:lnTo>
                      <a:pt x="9771" y="8702"/>
                    </a:lnTo>
                    <a:lnTo>
                      <a:pt x="9900" y="8493"/>
                    </a:lnTo>
                    <a:lnTo>
                      <a:pt x="10157" y="8283"/>
                    </a:lnTo>
                    <a:lnTo>
                      <a:pt x="10157" y="7130"/>
                    </a:lnTo>
                    <a:lnTo>
                      <a:pt x="10285" y="7025"/>
                    </a:lnTo>
                    <a:lnTo>
                      <a:pt x="10414" y="7025"/>
                    </a:lnTo>
                    <a:lnTo>
                      <a:pt x="10542" y="6815"/>
                    </a:lnTo>
                    <a:lnTo>
                      <a:pt x="10671" y="6500"/>
                    </a:lnTo>
                    <a:lnTo>
                      <a:pt x="10671" y="6396"/>
                    </a:lnTo>
                    <a:lnTo>
                      <a:pt x="10928" y="5871"/>
                    </a:lnTo>
                    <a:lnTo>
                      <a:pt x="11442" y="5137"/>
                    </a:lnTo>
                    <a:lnTo>
                      <a:pt x="12599" y="4299"/>
                    </a:lnTo>
                    <a:lnTo>
                      <a:pt x="14399" y="3355"/>
                    </a:lnTo>
                    <a:lnTo>
                      <a:pt x="15042" y="3355"/>
                    </a:lnTo>
                    <a:lnTo>
                      <a:pt x="15300" y="3460"/>
                    </a:lnTo>
                    <a:lnTo>
                      <a:pt x="15557" y="3669"/>
                    </a:lnTo>
                    <a:lnTo>
                      <a:pt x="16714" y="3774"/>
                    </a:lnTo>
                    <a:lnTo>
                      <a:pt x="16971" y="3669"/>
                    </a:lnTo>
                    <a:lnTo>
                      <a:pt x="17100" y="3669"/>
                    </a:lnTo>
                    <a:lnTo>
                      <a:pt x="17357" y="3565"/>
                    </a:lnTo>
                    <a:lnTo>
                      <a:pt x="17485" y="3460"/>
                    </a:lnTo>
                    <a:lnTo>
                      <a:pt x="17742" y="3355"/>
                    </a:lnTo>
                    <a:lnTo>
                      <a:pt x="17742" y="3040"/>
                    </a:lnTo>
                    <a:lnTo>
                      <a:pt x="17871" y="2935"/>
                    </a:lnTo>
                    <a:lnTo>
                      <a:pt x="18000" y="2726"/>
                    </a:lnTo>
                    <a:lnTo>
                      <a:pt x="18257" y="2621"/>
                    </a:lnTo>
                    <a:lnTo>
                      <a:pt x="18899" y="2621"/>
                    </a:lnTo>
                    <a:lnTo>
                      <a:pt x="20957" y="3460"/>
                    </a:lnTo>
                    <a:lnTo>
                      <a:pt x="21085" y="3355"/>
                    </a:lnTo>
                    <a:lnTo>
                      <a:pt x="21085" y="2935"/>
                    </a:lnTo>
                    <a:lnTo>
                      <a:pt x="21600" y="2935"/>
                    </a:lnTo>
                    <a:lnTo>
                      <a:pt x="20957" y="272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1" name="AutoShape 49"/>
              <p:cNvSpPr>
                <a:spLocks/>
              </p:cNvSpPr>
              <p:nvPr/>
            </p:nvSpPr>
            <p:spPr bwMode="auto">
              <a:xfrm>
                <a:off x="22607" y="1041979"/>
                <a:ext cx="177800" cy="13803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053" y="7527"/>
                    </a:moveTo>
                    <a:lnTo>
                      <a:pt x="19412" y="7527"/>
                    </a:lnTo>
                    <a:lnTo>
                      <a:pt x="18592" y="7854"/>
                    </a:lnTo>
                    <a:lnTo>
                      <a:pt x="18045" y="8509"/>
                    </a:lnTo>
                    <a:lnTo>
                      <a:pt x="18045" y="8836"/>
                    </a:lnTo>
                    <a:lnTo>
                      <a:pt x="17772" y="8836"/>
                    </a:lnTo>
                    <a:lnTo>
                      <a:pt x="16678" y="10145"/>
                    </a:lnTo>
                    <a:lnTo>
                      <a:pt x="16131" y="11454"/>
                    </a:lnTo>
                    <a:lnTo>
                      <a:pt x="16678" y="12763"/>
                    </a:lnTo>
                    <a:lnTo>
                      <a:pt x="16405" y="12763"/>
                    </a:lnTo>
                    <a:lnTo>
                      <a:pt x="16131" y="13090"/>
                    </a:lnTo>
                    <a:lnTo>
                      <a:pt x="15858" y="13745"/>
                    </a:lnTo>
                    <a:lnTo>
                      <a:pt x="15311" y="14400"/>
                    </a:lnTo>
                    <a:lnTo>
                      <a:pt x="15037" y="15054"/>
                    </a:lnTo>
                    <a:lnTo>
                      <a:pt x="14491" y="15709"/>
                    </a:lnTo>
                    <a:lnTo>
                      <a:pt x="13124" y="19309"/>
                    </a:lnTo>
                    <a:lnTo>
                      <a:pt x="10663" y="19309"/>
                    </a:lnTo>
                    <a:lnTo>
                      <a:pt x="9296" y="18981"/>
                    </a:lnTo>
                    <a:lnTo>
                      <a:pt x="8749" y="18981"/>
                    </a:lnTo>
                    <a:lnTo>
                      <a:pt x="8202" y="19309"/>
                    </a:lnTo>
                    <a:lnTo>
                      <a:pt x="7655" y="19309"/>
                    </a:lnTo>
                    <a:lnTo>
                      <a:pt x="7108" y="19636"/>
                    </a:lnTo>
                    <a:lnTo>
                      <a:pt x="6835" y="19963"/>
                    </a:lnTo>
                    <a:lnTo>
                      <a:pt x="6562" y="19636"/>
                    </a:lnTo>
                    <a:lnTo>
                      <a:pt x="5194" y="19636"/>
                    </a:lnTo>
                    <a:lnTo>
                      <a:pt x="4648" y="19963"/>
                    </a:lnTo>
                    <a:lnTo>
                      <a:pt x="4374" y="20290"/>
                    </a:lnTo>
                    <a:lnTo>
                      <a:pt x="4101" y="20945"/>
                    </a:lnTo>
                    <a:lnTo>
                      <a:pt x="4101" y="21600"/>
                    </a:lnTo>
                    <a:lnTo>
                      <a:pt x="3554" y="21600"/>
                    </a:lnTo>
                    <a:lnTo>
                      <a:pt x="3281" y="21272"/>
                    </a:lnTo>
                    <a:lnTo>
                      <a:pt x="2734" y="20945"/>
                    </a:lnTo>
                    <a:lnTo>
                      <a:pt x="2460" y="20618"/>
                    </a:lnTo>
                    <a:lnTo>
                      <a:pt x="2460" y="19963"/>
                    </a:lnTo>
                    <a:lnTo>
                      <a:pt x="2187" y="19963"/>
                    </a:lnTo>
                    <a:lnTo>
                      <a:pt x="2187" y="18654"/>
                    </a:lnTo>
                    <a:lnTo>
                      <a:pt x="2460" y="17672"/>
                    </a:lnTo>
                    <a:lnTo>
                      <a:pt x="2734" y="17018"/>
                    </a:lnTo>
                    <a:lnTo>
                      <a:pt x="3007" y="16690"/>
                    </a:lnTo>
                    <a:lnTo>
                      <a:pt x="3554" y="16690"/>
                    </a:lnTo>
                    <a:lnTo>
                      <a:pt x="4101" y="16036"/>
                    </a:lnTo>
                    <a:lnTo>
                      <a:pt x="3281" y="15054"/>
                    </a:lnTo>
                    <a:lnTo>
                      <a:pt x="3827" y="14400"/>
                    </a:lnTo>
                    <a:lnTo>
                      <a:pt x="4101" y="13090"/>
                    </a:lnTo>
                    <a:lnTo>
                      <a:pt x="4101" y="11454"/>
                    </a:lnTo>
                    <a:lnTo>
                      <a:pt x="3554" y="9818"/>
                    </a:lnTo>
                    <a:lnTo>
                      <a:pt x="4101" y="8181"/>
                    </a:lnTo>
                    <a:lnTo>
                      <a:pt x="4374" y="6872"/>
                    </a:lnTo>
                    <a:lnTo>
                      <a:pt x="4921" y="6545"/>
                    </a:lnTo>
                    <a:lnTo>
                      <a:pt x="5194" y="6218"/>
                    </a:lnTo>
                    <a:lnTo>
                      <a:pt x="5194" y="5563"/>
                    </a:lnTo>
                    <a:lnTo>
                      <a:pt x="4921" y="5236"/>
                    </a:lnTo>
                    <a:lnTo>
                      <a:pt x="3827" y="4581"/>
                    </a:lnTo>
                    <a:lnTo>
                      <a:pt x="3554" y="4581"/>
                    </a:lnTo>
                    <a:lnTo>
                      <a:pt x="1367" y="4909"/>
                    </a:lnTo>
                    <a:lnTo>
                      <a:pt x="546" y="4581"/>
                    </a:lnTo>
                    <a:lnTo>
                      <a:pt x="546" y="3272"/>
                    </a:lnTo>
                    <a:lnTo>
                      <a:pt x="273" y="2618"/>
                    </a:lnTo>
                    <a:lnTo>
                      <a:pt x="0" y="2290"/>
                    </a:lnTo>
                    <a:lnTo>
                      <a:pt x="273" y="2290"/>
                    </a:lnTo>
                    <a:lnTo>
                      <a:pt x="273" y="1636"/>
                    </a:lnTo>
                    <a:lnTo>
                      <a:pt x="1093" y="1636"/>
                    </a:lnTo>
                    <a:lnTo>
                      <a:pt x="2460" y="0"/>
                    </a:lnTo>
                    <a:lnTo>
                      <a:pt x="3281" y="0"/>
                    </a:lnTo>
                    <a:lnTo>
                      <a:pt x="3554" y="327"/>
                    </a:lnTo>
                    <a:lnTo>
                      <a:pt x="7382" y="981"/>
                    </a:lnTo>
                    <a:lnTo>
                      <a:pt x="9843" y="981"/>
                    </a:lnTo>
                    <a:lnTo>
                      <a:pt x="11483" y="1309"/>
                    </a:lnTo>
                    <a:lnTo>
                      <a:pt x="13397" y="654"/>
                    </a:lnTo>
                    <a:lnTo>
                      <a:pt x="13397" y="981"/>
                    </a:lnTo>
                    <a:lnTo>
                      <a:pt x="13670" y="981"/>
                    </a:lnTo>
                    <a:lnTo>
                      <a:pt x="13944" y="1309"/>
                    </a:lnTo>
                    <a:lnTo>
                      <a:pt x="13944" y="1963"/>
                    </a:lnTo>
                    <a:lnTo>
                      <a:pt x="14217" y="1963"/>
                    </a:lnTo>
                    <a:lnTo>
                      <a:pt x="14764" y="2618"/>
                    </a:lnTo>
                    <a:lnTo>
                      <a:pt x="15311" y="2945"/>
                    </a:lnTo>
                    <a:lnTo>
                      <a:pt x="15584" y="2945"/>
                    </a:lnTo>
                    <a:lnTo>
                      <a:pt x="15858" y="3272"/>
                    </a:lnTo>
                    <a:lnTo>
                      <a:pt x="16405" y="3599"/>
                    </a:lnTo>
                    <a:lnTo>
                      <a:pt x="17225" y="4581"/>
                    </a:lnTo>
                    <a:lnTo>
                      <a:pt x="17225" y="4254"/>
                    </a:lnTo>
                    <a:lnTo>
                      <a:pt x="18318" y="5890"/>
                    </a:lnTo>
                    <a:lnTo>
                      <a:pt x="21600" y="7200"/>
                    </a:lnTo>
                    <a:lnTo>
                      <a:pt x="21053" y="752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2" name="AutoShape 50"/>
              <p:cNvSpPr>
                <a:spLocks/>
              </p:cNvSpPr>
              <p:nvPr/>
            </p:nvSpPr>
            <p:spPr bwMode="auto">
              <a:xfrm>
                <a:off x="249619" y="1000727"/>
                <a:ext cx="176213" cy="15390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015" y="2071"/>
                    </a:moveTo>
                    <a:lnTo>
                      <a:pt x="12738" y="2367"/>
                    </a:lnTo>
                    <a:lnTo>
                      <a:pt x="13015" y="2663"/>
                    </a:lnTo>
                    <a:lnTo>
                      <a:pt x="13015" y="2958"/>
                    </a:lnTo>
                    <a:lnTo>
                      <a:pt x="11630" y="3550"/>
                    </a:lnTo>
                    <a:lnTo>
                      <a:pt x="10523" y="4142"/>
                    </a:lnTo>
                    <a:lnTo>
                      <a:pt x="10800" y="4734"/>
                    </a:lnTo>
                    <a:lnTo>
                      <a:pt x="11353" y="5030"/>
                    </a:lnTo>
                    <a:lnTo>
                      <a:pt x="11630" y="5621"/>
                    </a:lnTo>
                    <a:lnTo>
                      <a:pt x="12184" y="6213"/>
                    </a:lnTo>
                    <a:lnTo>
                      <a:pt x="13015" y="6805"/>
                    </a:lnTo>
                    <a:lnTo>
                      <a:pt x="13569" y="7397"/>
                    </a:lnTo>
                    <a:lnTo>
                      <a:pt x="14400" y="7693"/>
                    </a:lnTo>
                    <a:lnTo>
                      <a:pt x="14123" y="8284"/>
                    </a:lnTo>
                    <a:lnTo>
                      <a:pt x="14400" y="8580"/>
                    </a:lnTo>
                    <a:lnTo>
                      <a:pt x="14400" y="9172"/>
                    </a:lnTo>
                    <a:lnTo>
                      <a:pt x="14953" y="9468"/>
                    </a:lnTo>
                    <a:lnTo>
                      <a:pt x="19107" y="13315"/>
                    </a:lnTo>
                    <a:lnTo>
                      <a:pt x="20492" y="15090"/>
                    </a:lnTo>
                    <a:lnTo>
                      <a:pt x="21600" y="17753"/>
                    </a:lnTo>
                    <a:lnTo>
                      <a:pt x="21046" y="18641"/>
                    </a:lnTo>
                    <a:lnTo>
                      <a:pt x="19938" y="17457"/>
                    </a:lnTo>
                    <a:lnTo>
                      <a:pt x="19107" y="17457"/>
                    </a:lnTo>
                    <a:lnTo>
                      <a:pt x="18553" y="18049"/>
                    </a:lnTo>
                    <a:lnTo>
                      <a:pt x="19107" y="19528"/>
                    </a:lnTo>
                    <a:lnTo>
                      <a:pt x="18000" y="19824"/>
                    </a:lnTo>
                    <a:lnTo>
                      <a:pt x="18000" y="21008"/>
                    </a:lnTo>
                    <a:lnTo>
                      <a:pt x="17169" y="21599"/>
                    </a:lnTo>
                    <a:lnTo>
                      <a:pt x="16338" y="21008"/>
                    </a:lnTo>
                    <a:lnTo>
                      <a:pt x="16615" y="19824"/>
                    </a:lnTo>
                    <a:lnTo>
                      <a:pt x="16061" y="19232"/>
                    </a:lnTo>
                    <a:lnTo>
                      <a:pt x="16061" y="18936"/>
                    </a:lnTo>
                    <a:lnTo>
                      <a:pt x="16892" y="18936"/>
                    </a:lnTo>
                    <a:lnTo>
                      <a:pt x="16892" y="16569"/>
                    </a:lnTo>
                    <a:lnTo>
                      <a:pt x="15784" y="16273"/>
                    </a:lnTo>
                    <a:lnTo>
                      <a:pt x="15230" y="15682"/>
                    </a:lnTo>
                    <a:lnTo>
                      <a:pt x="12184" y="13610"/>
                    </a:lnTo>
                    <a:lnTo>
                      <a:pt x="11076" y="12427"/>
                    </a:lnTo>
                    <a:lnTo>
                      <a:pt x="10246" y="10947"/>
                    </a:lnTo>
                    <a:lnTo>
                      <a:pt x="6923" y="7989"/>
                    </a:lnTo>
                    <a:lnTo>
                      <a:pt x="6923" y="7101"/>
                    </a:lnTo>
                    <a:lnTo>
                      <a:pt x="6646" y="6509"/>
                    </a:lnTo>
                    <a:lnTo>
                      <a:pt x="6092" y="5917"/>
                    </a:lnTo>
                    <a:lnTo>
                      <a:pt x="5261" y="5621"/>
                    </a:lnTo>
                    <a:lnTo>
                      <a:pt x="2492" y="7101"/>
                    </a:lnTo>
                    <a:lnTo>
                      <a:pt x="1661" y="7101"/>
                    </a:lnTo>
                    <a:lnTo>
                      <a:pt x="1661" y="6213"/>
                    </a:lnTo>
                    <a:lnTo>
                      <a:pt x="276" y="4734"/>
                    </a:lnTo>
                    <a:lnTo>
                      <a:pt x="0" y="4142"/>
                    </a:lnTo>
                    <a:lnTo>
                      <a:pt x="0" y="3254"/>
                    </a:lnTo>
                    <a:lnTo>
                      <a:pt x="1661" y="3254"/>
                    </a:lnTo>
                    <a:lnTo>
                      <a:pt x="1938" y="3550"/>
                    </a:lnTo>
                    <a:lnTo>
                      <a:pt x="2215" y="3550"/>
                    </a:lnTo>
                    <a:lnTo>
                      <a:pt x="3876" y="2367"/>
                    </a:lnTo>
                    <a:lnTo>
                      <a:pt x="3323" y="1775"/>
                    </a:lnTo>
                    <a:lnTo>
                      <a:pt x="4153" y="1479"/>
                    </a:lnTo>
                    <a:lnTo>
                      <a:pt x="4153" y="2071"/>
                    </a:lnTo>
                    <a:lnTo>
                      <a:pt x="4430" y="2367"/>
                    </a:lnTo>
                    <a:lnTo>
                      <a:pt x="4707" y="2071"/>
                    </a:lnTo>
                    <a:lnTo>
                      <a:pt x="4984" y="2071"/>
                    </a:lnTo>
                    <a:lnTo>
                      <a:pt x="5538" y="1775"/>
                    </a:lnTo>
                    <a:lnTo>
                      <a:pt x="5538" y="1479"/>
                    </a:lnTo>
                    <a:lnTo>
                      <a:pt x="5815" y="1479"/>
                    </a:lnTo>
                    <a:lnTo>
                      <a:pt x="6092" y="1183"/>
                    </a:lnTo>
                    <a:lnTo>
                      <a:pt x="6092" y="1479"/>
                    </a:lnTo>
                    <a:lnTo>
                      <a:pt x="6369" y="1775"/>
                    </a:lnTo>
                    <a:lnTo>
                      <a:pt x="6646" y="1775"/>
                    </a:lnTo>
                    <a:lnTo>
                      <a:pt x="6646" y="887"/>
                    </a:lnTo>
                    <a:lnTo>
                      <a:pt x="6369" y="591"/>
                    </a:lnTo>
                    <a:lnTo>
                      <a:pt x="6923" y="591"/>
                    </a:lnTo>
                    <a:lnTo>
                      <a:pt x="6923" y="295"/>
                    </a:lnTo>
                    <a:lnTo>
                      <a:pt x="7200" y="295"/>
                    </a:lnTo>
                    <a:lnTo>
                      <a:pt x="7476" y="0"/>
                    </a:lnTo>
                    <a:lnTo>
                      <a:pt x="9969" y="0"/>
                    </a:lnTo>
                    <a:lnTo>
                      <a:pt x="10246" y="591"/>
                    </a:lnTo>
                    <a:lnTo>
                      <a:pt x="10523" y="887"/>
                    </a:lnTo>
                    <a:lnTo>
                      <a:pt x="12184" y="1775"/>
                    </a:lnTo>
                    <a:lnTo>
                      <a:pt x="12738" y="1775"/>
                    </a:lnTo>
                    <a:lnTo>
                      <a:pt x="13015" y="207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3" name="AutoShape 51"/>
              <p:cNvSpPr>
                <a:spLocks/>
              </p:cNvSpPr>
              <p:nvPr/>
            </p:nvSpPr>
            <p:spPr bwMode="auto">
              <a:xfrm>
                <a:off x="332169" y="1143523"/>
                <a:ext cx="47625" cy="2538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085" y="3600"/>
                    </a:moveTo>
                    <a:lnTo>
                      <a:pt x="0" y="5400"/>
                    </a:lnTo>
                    <a:lnTo>
                      <a:pt x="0" y="7199"/>
                    </a:lnTo>
                    <a:lnTo>
                      <a:pt x="1028" y="8999"/>
                    </a:lnTo>
                    <a:lnTo>
                      <a:pt x="11314" y="14399"/>
                    </a:lnTo>
                    <a:lnTo>
                      <a:pt x="12342" y="17999"/>
                    </a:lnTo>
                    <a:lnTo>
                      <a:pt x="14399" y="21599"/>
                    </a:lnTo>
                    <a:lnTo>
                      <a:pt x="15428" y="19799"/>
                    </a:lnTo>
                    <a:lnTo>
                      <a:pt x="19542" y="16199"/>
                    </a:lnTo>
                    <a:lnTo>
                      <a:pt x="19542" y="10800"/>
                    </a:lnTo>
                    <a:lnTo>
                      <a:pt x="18514" y="10800"/>
                    </a:lnTo>
                    <a:lnTo>
                      <a:pt x="20571" y="3600"/>
                    </a:lnTo>
                    <a:lnTo>
                      <a:pt x="21600" y="1800"/>
                    </a:lnTo>
                    <a:lnTo>
                      <a:pt x="20571" y="0"/>
                    </a:lnTo>
                    <a:lnTo>
                      <a:pt x="18514" y="0"/>
                    </a:lnTo>
                    <a:lnTo>
                      <a:pt x="17485" y="1800"/>
                    </a:lnTo>
                    <a:lnTo>
                      <a:pt x="16457" y="1800"/>
                    </a:lnTo>
                    <a:lnTo>
                      <a:pt x="14399" y="3600"/>
                    </a:lnTo>
                    <a:lnTo>
                      <a:pt x="3085" y="3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4" name="AutoShape 52"/>
              <p:cNvSpPr>
                <a:spLocks/>
              </p:cNvSpPr>
              <p:nvPr/>
            </p:nvSpPr>
            <p:spPr bwMode="auto">
              <a:xfrm>
                <a:off x="276607" y="1089578"/>
                <a:ext cx="22225" cy="4442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120" y="0"/>
                    </a:moveTo>
                    <a:lnTo>
                      <a:pt x="15120" y="1028"/>
                    </a:lnTo>
                    <a:lnTo>
                      <a:pt x="12959" y="1028"/>
                    </a:lnTo>
                    <a:lnTo>
                      <a:pt x="8639" y="3085"/>
                    </a:lnTo>
                    <a:lnTo>
                      <a:pt x="2159" y="3085"/>
                    </a:lnTo>
                    <a:lnTo>
                      <a:pt x="2159" y="2057"/>
                    </a:lnTo>
                    <a:lnTo>
                      <a:pt x="0" y="2057"/>
                    </a:lnTo>
                    <a:lnTo>
                      <a:pt x="2159" y="4114"/>
                    </a:lnTo>
                    <a:lnTo>
                      <a:pt x="2159" y="8228"/>
                    </a:lnTo>
                    <a:lnTo>
                      <a:pt x="0" y="10285"/>
                    </a:lnTo>
                    <a:lnTo>
                      <a:pt x="0" y="19542"/>
                    </a:lnTo>
                    <a:lnTo>
                      <a:pt x="4319" y="20571"/>
                    </a:lnTo>
                    <a:lnTo>
                      <a:pt x="8639" y="20571"/>
                    </a:lnTo>
                    <a:lnTo>
                      <a:pt x="12959" y="21600"/>
                    </a:lnTo>
                    <a:lnTo>
                      <a:pt x="12959" y="18514"/>
                    </a:lnTo>
                    <a:lnTo>
                      <a:pt x="15120" y="18514"/>
                    </a:lnTo>
                    <a:lnTo>
                      <a:pt x="17279" y="17485"/>
                    </a:lnTo>
                    <a:lnTo>
                      <a:pt x="19439" y="17485"/>
                    </a:lnTo>
                    <a:lnTo>
                      <a:pt x="19439" y="9257"/>
                    </a:lnTo>
                    <a:lnTo>
                      <a:pt x="21599" y="8228"/>
                    </a:lnTo>
                    <a:lnTo>
                      <a:pt x="21599" y="3085"/>
                    </a:lnTo>
                    <a:lnTo>
                      <a:pt x="1512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5" name="AutoShape 53"/>
              <p:cNvSpPr>
                <a:spLocks/>
              </p:cNvSpPr>
              <p:nvPr/>
            </p:nvSpPr>
            <p:spPr bwMode="auto">
              <a:xfrm>
                <a:off x="281369" y="1056259"/>
                <a:ext cx="20638" cy="2855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599" y="3085"/>
                    </a:moveTo>
                    <a:lnTo>
                      <a:pt x="4799" y="3085"/>
                    </a:lnTo>
                    <a:lnTo>
                      <a:pt x="0" y="6171"/>
                    </a:lnTo>
                    <a:lnTo>
                      <a:pt x="2400" y="7714"/>
                    </a:lnTo>
                    <a:lnTo>
                      <a:pt x="2400" y="12342"/>
                    </a:lnTo>
                    <a:lnTo>
                      <a:pt x="4799" y="15428"/>
                    </a:lnTo>
                    <a:lnTo>
                      <a:pt x="14399" y="21600"/>
                    </a:lnTo>
                    <a:lnTo>
                      <a:pt x="16799" y="18514"/>
                    </a:lnTo>
                    <a:lnTo>
                      <a:pt x="16799" y="16971"/>
                    </a:lnTo>
                    <a:lnTo>
                      <a:pt x="19199" y="13885"/>
                    </a:lnTo>
                    <a:lnTo>
                      <a:pt x="21599" y="13885"/>
                    </a:lnTo>
                    <a:lnTo>
                      <a:pt x="21599" y="10800"/>
                    </a:lnTo>
                    <a:lnTo>
                      <a:pt x="19199" y="7714"/>
                    </a:lnTo>
                    <a:lnTo>
                      <a:pt x="19199" y="4628"/>
                    </a:lnTo>
                    <a:lnTo>
                      <a:pt x="11999" y="0"/>
                    </a:lnTo>
                    <a:lnTo>
                      <a:pt x="9599" y="308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6" name="AutoShape 54"/>
              <p:cNvSpPr>
                <a:spLocks/>
              </p:cNvSpPr>
              <p:nvPr/>
            </p:nvSpPr>
            <p:spPr bwMode="auto">
              <a:xfrm>
                <a:off x="292482" y="942022"/>
                <a:ext cx="114300" cy="6346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7623" y="21600"/>
                    </a:moveTo>
                    <a:lnTo>
                      <a:pt x="7199" y="20880"/>
                    </a:lnTo>
                    <a:lnTo>
                      <a:pt x="7199" y="20159"/>
                    </a:lnTo>
                    <a:lnTo>
                      <a:pt x="3388" y="20159"/>
                    </a:lnTo>
                    <a:lnTo>
                      <a:pt x="2964" y="20880"/>
                    </a:lnTo>
                    <a:lnTo>
                      <a:pt x="2541" y="20880"/>
                    </a:lnTo>
                    <a:lnTo>
                      <a:pt x="2541" y="21600"/>
                    </a:lnTo>
                    <a:lnTo>
                      <a:pt x="2117" y="21600"/>
                    </a:lnTo>
                    <a:lnTo>
                      <a:pt x="2117" y="20159"/>
                    </a:lnTo>
                    <a:lnTo>
                      <a:pt x="1270" y="20159"/>
                    </a:lnTo>
                    <a:lnTo>
                      <a:pt x="1694" y="18720"/>
                    </a:lnTo>
                    <a:lnTo>
                      <a:pt x="0" y="13680"/>
                    </a:lnTo>
                    <a:lnTo>
                      <a:pt x="1694" y="13680"/>
                    </a:lnTo>
                    <a:lnTo>
                      <a:pt x="4235" y="10800"/>
                    </a:lnTo>
                    <a:lnTo>
                      <a:pt x="5929" y="12240"/>
                    </a:lnTo>
                    <a:lnTo>
                      <a:pt x="6352" y="10800"/>
                    </a:lnTo>
                    <a:lnTo>
                      <a:pt x="5929" y="9359"/>
                    </a:lnTo>
                    <a:lnTo>
                      <a:pt x="5929" y="5759"/>
                    </a:lnTo>
                    <a:lnTo>
                      <a:pt x="8047" y="4319"/>
                    </a:lnTo>
                    <a:lnTo>
                      <a:pt x="10588" y="1439"/>
                    </a:lnTo>
                    <a:lnTo>
                      <a:pt x="11011" y="719"/>
                    </a:lnTo>
                    <a:lnTo>
                      <a:pt x="11011" y="0"/>
                    </a:lnTo>
                    <a:lnTo>
                      <a:pt x="11858" y="0"/>
                    </a:lnTo>
                    <a:lnTo>
                      <a:pt x="12282" y="1439"/>
                    </a:lnTo>
                    <a:lnTo>
                      <a:pt x="14823" y="1439"/>
                    </a:lnTo>
                    <a:lnTo>
                      <a:pt x="15247" y="0"/>
                    </a:lnTo>
                    <a:lnTo>
                      <a:pt x="16941" y="0"/>
                    </a:lnTo>
                    <a:lnTo>
                      <a:pt x="16941" y="1439"/>
                    </a:lnTo>
                    <a:lnTo>
                      <a:pt x="17364" y="2159"/>
                    </a:lnTo>
                    <a:lnTo>
                      <a:pt x="18211" y="2879"/>
                    </a:lnTo>
                    <a:lnTo>
                      <a:pt x="20329" y="2879"/>
                    </a:lnTo>
                    <a:lnTo>
                      <a:pt x="21600" y="5759"/>
                    </a:lnTo>
                    <a:lnTo>
                      <a:pt x="21600" y="6479"/>
                    </a:lnTo>
                    <a:lnTo>
                      <a:pt x="21176" y="6479"/>
                    </a:lnTo>
                    <a:lnTo>
                      <a:pt x="20752" y="7199"/>
                    </a:lnTo>
                    <a:lnTo>
                      <a:pt x="20329" y="8639"/>
                    </a:lnTo>
                    <a:lnTo>
                      <a:pt x="20329" y="12240"/>
                    </a:lnTo>
                    <a:lnTo>
                      <a:pt x="19058" y="14399"/>
                    </a:lnTo>
                    <a:lnTo>
                      <a:pt x="19482" y="15839"/>
                    </a:lnTo>
                    <a:lnTo>
                      <a:pt x="14400" y="16559"/>
                    </a:lnTo>
                    <a:lnTo>
                      <a:pt x="9317" y="20159"/>
                    </a:lnTo>
                    <a:lnTo>
                      <a:pt x="7623" y="21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7" name="AutoShape 55"/>
              <p:cNvSpPr>
                <a:spLocks/>
              </p:cNvSpPr>
              <p:nvPr/>
            </p:nvSpPr>
            <p:spPr bwMode="auto">
              <a:xfrm>
                <a:off x="241682" y="983274"/>
                <a:ext cx="61912" cy="4283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1999" y="3085"/>
                    </a:moveTo>
                    <a:lnTo>
                      <a:pt x="7999" y="4114"/>
                    </a:lnTo>
                    <a:lnTo>
                      <a:pt x="3200" y="8228"/>
                    </a:lnTo>
                    <a:lnTo>
                      <a:pt x="0" y="15428"/>
                    </a:lnTo>
                    <a:lnTo>
                      <a:pt x="800" y="15428"/>
                    </a:lnTo>
                    <a:lnTo>
                      <a:pt x="800" y="14399"/>
                    </a:lnTo>
                    <a:lnTo>
                      <a:pt x="2400" y="14399"/>
                    </a:lnTo>
                    <a:lnTo>
                      <a:pt x="3200" y="15428"/>
                    </a:lnTo>
                    <a:lnTo>
                      <a:pt x="3200" y="17485"/>
                    </a:lnTo>
                    <a:lnTo>
                      <a:pt x="2400" y="20571"/>
                    </a:lnTo>
                    <a:lnTo>
                      <a:pt x="6399" y="20571"/>
                    </a:lnTo>
                    <a:lnTo>
                      <a:pt x="7999" y="21600"/>
                    </a:lnTo>
                    <a:lnTo>
                      <a:pt x="8799" y="21600"/>
                    </a:lnTo>
                    <a:lnTo>
                      <a:pt x="13599" y="17485"/>
                    </a:lnTo>
                    <a:lnTo>
                      <a:pt x="11999" y="15428"/>
                    </a:lnTo>
                    <a:lnTo>
                      <a:pt x="14399" y="14399"/>
                    </a:lnTo>
                    <a:lnTo>
                      <a:pt x="14399" y="16457"/>
                    </a:lnTo>
                    <a:lnTo>
                      <a:pt x="15199" y="17485"/>
                    </a:lnTo>
                    <a:lnTo>
                      <a:pt x="15999" y="16457"/>
                    </a:lnTo>
                    <a:lnTo>
                      <a:pt x="17599" y="16457"/>
                    </a:lnTo>
                    <a:lnTo>
                      <a:pt x="19999" y="13371"/>
                    </a:lnTo>
                    <a:lnTo>
                      <a:pt x="19999" y="14399"/>
                    </a:lnTo>
                    <a:lnTo>
                      <a:pt x="20799" y="15428"/>
                    </a:lnTo>
                    <a:lnTo>
                      <a:pt x="21599" y="15428"/>
                    </a:lnTo>
                    <a:lnTo>
                      <a:pt x="21599" y="12342"/>
                    </a:lnTo>
                    <a:lnTo>
                      <a:pt x="20799" y="12342"/>
                    </a:lnTo>
                    <a:lnTo>
                      <a:pt x="21599" y="11314"/>
                    </a:lnTo>
                    <a:lnTo>
                      <a:pt x="21599" y="9257"/>
                    </a:lnTo>
                    <a:lnTo>
                      <a:pt x="19999" y="9257"/>
                    </a:lnTo>
                    <a:lnTo>
                      <a:pt x="20799" y="7199"/>
                    </a:lnTo>
                    <a:lnTo>
                      <a:pt x="17599" y="0"/>
                    </a:lnTo>
                    <a:lnTo>
                      <a:pt x="15199" y="2057"/>
                    </a:lnTo>
                    <a:lnTo>
                      <a:pt x="11999" y="308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8" name="AutoShape 56"/>
              <p:cNvSpPr>
                <a:spLocks/>
              </p:cNvSpPr>
              <p:nvPr/>
            </p:nvSpPr>
            <p:spPr bwMode="auto">
              <a:xfrm>
                <a:off x="92457" y="896009"/>
                <a:ext cx="179387" cy="19198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139" y="13767"/>
                    </a:moveTo>
                    <a:lnTo>
                      <a:pt x="18865" y="14004"/>
                    </a:lnTo>
                    <a:lnTo>
                      <a:pt x="18865" y="15428"/>
                    </a:lnTo>
                    <a:lnTo>
                      <a:pt x="19139" y="15428"/>
                    </a:lnTo>
                    <a:lnTo>
                      <a:pt x="19139" y="15903"/>
                    </a:lnTo>
                    <a:lnTo>
                      <a:pt x="20506" y="17090"/>
                    </a:lnTo>
                    <a:lnTo>
                      <a:pt x="20506" y="17802"/>
                    </a:lnTo>
                    <a:lnTo>
                      <a:pt x="19139" y="18514"/>
                    </a:lnTo>
                    <a:lnTo>
                      <a:pt x="16678" y="18514"/>
                    </a:lnTo>
                    <a:lnTo>
                      <a:pt x="15584" y="18276"/>
                    </a:lnTo>
                    <a:lnTo>
                      <a:pt x="15037" y="18276"/>
                    </a:lnTo>
                    <a:lnTo>
                      <a:pt x="13944" y="18751"/>
                    </a:lnTo>
                    <a:lnTo>
                      <a:pt x="13670" y="19701"/>
                    </a:lnTo>
                    <a:lnTo>
                      <a:pt x="13670" y="20175"/>
                    </a:lnTo>
                    <a:lnTo>
                      <a:pt x="13944" y="20650"/>
                    </a:lnTo>
                    <a:lnTo>
                      <a:pt x="13124" y="21600"/>
                    </a:lnTo>
                    <a:lnTo>
                      <a:pt x="9843" y="20650"/>
                    </a:lnTo>
                    <a:lnTo>
                      <a:pt x="8749" y="19463"/>
                    </a:lnTo>
                    <a:lnTo>
                      <a:pt x="8749" y="19701"/>
                    </a:lnTo>
                    <a:lnTo>
                      <a:pt x="7929" y="18989"/>
                    </a:lnTo>
                    <a:lnTo>
                      <a:pt x="7382" y="18751"/>
                    </a:lnTo>
                    <a:lnTo>
                      <a:pt x="7108" y="18751"/>
                    </a:lnTo>
                    <a:lnTo>
                      <a:pt x="6835" y="18514"/>
                    </a:lnTo>
                    <a:lnTo>
                      <a:pt x="6288" y="18276"/>
                    </a:lnTo>
                    <a:lnTo>
                      <a:pt x="5741" y="17802"/>
                    </a:lnTo>
                    <a:lnTo>
                      <a:pt x="5468" y="17802"/>
                    </a:lnTo>
                    <a:lnTo>
                      <a:pt x="5468" y="17327"/>
                    </a:lnTo>
                    <a:lnTo>
                      <a:pt x="5194" y="17090"/>
                    </a:lnTo>
                    <a:lnTo>
                      <a:pt x="4921" y="17090"/>
                    </a:lnTo>
                    <a:lnTo>
                      <a:pt x="5468" y="16615"/>
                    </a:lnTo>
                    <a:lnTo>
                      <a:pt x="5468" y="10918"/>
                    </a:lnTo>
                    <a:lnTo>
                      <a:pt x="5194" y="10681"/>
                    </a:lnTo>
                    <a:lnTo>
                      <a:pt x="5194" y="10206"/>
                    </a:lnTo>
                    <a:lnTo>
                      <a:pt x="4921" y="9731"/>
                    </a:lnTo>
                    <a:lnTo>
                      <a:pt x="4374" y="9257"/>
                    </a:lnTo>
                    <a:lnTo>
                      <a:pt x="3007" y="8545"/>
                    </a:lnTo>
                    <a:lnTo>
                      <a:pt x="3007" y="8070"/>
                    </a:lnTo>
                    <a:lnTo>
                      <a:pt x="273" y="7120"/>
                    </a:lnTo>
                    <a:lnTo>
                      <a:pt x="273" y="6883"/>
                    </a:lnTo>
                    <a:lnTo>
                      <a:pt x="0" y="6646"/>
                    </a:lnTo>
                    <a:lnTo>
                      <a:pt x="0" y="6408"/>
                    </a:lnTo>
                    <a:lnTo>
                      <a:pt x="273" y="5934"/>
                    </a:lnTo>
                    <a:lnTo>
                      <a:pt x="546" y="5696"/>
                    </a:lnTo>
                    <a:lnTo>
                      <a:pt x="1913" y="5934"/>
                    </a:lnTo>
                    <a:lnTo>
                      <a:pt x="1913" y="4509"/>
                    </a:lnTo>
                    <a:lnTo>
                      <a:pt x="3007" y="4272"/>
                    </a:lnTo>
                    <a:lnTo>
                      <a:pt x="4101" y="4272"/>
                    </a:lnTo>
                    <a:lnTo>
                      <a:pt x="4921" y="4035"/>
                    </a:lnTo>
                    <a:lnTo>
                      <a:pt x="6015" y="3797"/>
                    </a:lnTo>
                    <a:lnTo>
                      <a:pt x="6288" y="3560"/>
                    </a:lnTo>
                    <a:lnTo>
                      <a:pt x="6835" y="3323"/>
                    </a:lnTo>
                    <a:lnTo>
                      <a:pt x="7382" y="3323"/>
                    </a:lnTo>
                    <a:lnTo>
                      <a:pt x="7929" y="3085"/>
                    </a:lnTo>
                    <a:lnTo>
                      <a:pt x="8749" y="3323"/>
                    </a:lnTo>
                    <a:lnTo>
                      <a:pt x="9569" y="1898"/>
                    </a:lnTo>
                    <a:lnTo>
                      <a:pt x="10663" y="1661"/>
                    </a:lnTo>
                    <a:lnTo>
                      <a:pt x="10663" y="1424"/>
                    </a:lnTo>
                    <a:lnTo>
                      <a:pt x="10936" y="1424"/>
                    </a:lnTo>
                    <a:lnTo>
                      <a:pt x="11483" y="949"/>
                    </a:lnTo>
                    <a:lnTo>
                      <a:pt x="12577" y="474"/>
                    </a:lnTo>
                    <a:lnTo>
                      <a:pt x="12850" y="0"/>
                    </a:lnTo>
                    <a:lnTo>
                      <a:pt x="13397" y="474"/>
                    </a:lnTo>
                    <a:lnTo>
                      <a:pt x="13670" y="949"/>
                    </a:lnTo>
                    <a:lnTo>
                      <a:pt x="14217" y="1186"/>
                    </a:lnTo>
                    <a:lnTo>
                      <a:pt x="14491" y="1661"/>
                    </a:lnTo>
                    <a:lnTo>
                      <a:pt x="14764" y="1898"/>
                    </a:lnTo>
                    <a:lnTo>
                      <a:pt x="15037" y="1898"/>
                    </a:lnTo>
                    <a:lnTo>
                      <a:pt x="15037" y="2136"/>
                    </a:lnTo>
                    <a:lnTo>
                      <a:pt x="14764" y="2373"/>
                    </a:lnTo>
                    <a:lnTo>
                      <a:pt x="14764" y="2848"/>
                    </a:lnTo>
                    <a:lnTo>
                      <a:pt x="15037" y="3085"/>
                    </a:lnTo>
                    <a:lnTo>
                      <a:pt x="15037" y="3560"/>
                    </a:lnTo>
                    <a:lnTo>
                      <a:pt x="15584" y="3797"/>
                    </a:lnTo>
                    <a:lnTo>
                      <a:pt x="16131" y="3797"/>
                    </a:lnTo>
                    <a:lnTo>
                      <a:pt x="16405" y="4035"/>
                    </a:lnTo>
                    <a:lnTo>
                      <a:pt x="16678" y="4509"/>
                    </a:lnTo>
                    <a:lnTo>
                      <a:pt x="16678" y="4747"/>
                    </a:lnTo>
                    <a:lnTo>
                      <a:pt x="16951" y="5221"/>
                    </a:lnTo>
                    <a:lnTo>
                      <a:pt x="17225" y="5459"/>
                    </a:lnTo>
                    <a:lnTo>
                      <a:pt x="17498" y="5934"/>
                    </a:lnTo>
                    <a:lnTo>
                      <a:pt x="18045" y="6171"/>
                    </a:lnTo>
                    <a:lnTo>
                      <a:pt x="18318" y="6171"/>
                    </a:lnTo>
                    <a:lnTo>
                      <a:pt x="18592" y="6408"/>
                    </a:lnTo>
                    <a:lnTo>
                      <a:pt x="18865" y="6408"/>
                    </a:lnTo>
                    <a:lnTo>
                      <a:pt x="19959" y="6883"/>
                    </a:lnTo>
                    <a:lnTo>
                      <a:pt x="20779" y="7120"/>
                    </a:lnTo>
                    <a:lnTo>
                      <a:pt x="21326" y="7358"/>
                    </a:lnTo>
                    <a:lnTo>
                      <a:pt x="21600" y="7358"/>
                    </a:lnTo>
                    <a:lnTo>
                      <a:pt x="21600" y="7595"/>
                    </a:lnTo>
                    <a:lnTo>
                      <a:pt x="21326" y="8070"/>
                    </a:lnTo>
                    <a:lnTo>
                      <a:pt x="21326" y="8545"/>
                    </a:lnTo>
                    <a:lnTo>
                      <a:pt x="21053" y="9257"/>
                    </a:lnTo>
                    <a:lnTo>
                      <a:pt x="20779" y="10681"/>
                    </a:lnTo>
                    <a:lnTo>
                      <a:pt x="19139" y="11868"/>
                    </a:lnTo>
                    <a:lnTo>
                      <a:pt x="18045" y="13292"/>
                    </a:lnTo>
                    <a:lnTo>
                      <a:pt x="18318" y="13292"/>
                    </a:lnTo>
                    <a:lnTo>
                      <a:pt x="18592" y="13054"/>
                    </a:lnTo>
                    <a:lnTo>
                      <a:pt x="18865" y="13054"/>
                    </a:lnTo>
                    <a:lnTo>
                      <a:pt x="19139" y="13292"/>
                    </a:lnTo>
                    <a:lnTo>
                      <a:pt x="19139" y="1376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39" name="AutoShape 57"/>
              <p:cNvSpPr>
                <a:spLocks/>
              </p:cNvSpPr>
              <p:nvPr/>
            </p:nvSpPr>
            <p:spPr bwMode="auto">
              <a:xfrm>
                <a:off x="21019" y="1070539"/>
                <a:ext cx="44450" cy="9361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239" y="0"/>
                    </a:moveTo>
                    <a:lnTo>
                      <a:pt x="3239" y="7679"/>
                    </a:lnTo>
                    <a:lnTo>
                      <a:pt x="2159" y="9600"/>
                    </a:lnTo>
                    <a:lnTo>
                      <a:pt x="2159" y="11039"/>
                    </a:lnTo>
                    <a:lnTo>
                      <a:pt x="1080" y="12480"/>
                    </a:lnTo>
                    <a:lnTo>
                      <a:pt x="0" y="12960"/>
                    </a:lnTo>
                    <a:lnTo>
                      <a:pt x="0" y="15359"/>
                    </a:lnTo>
                    <a:lnTo>
                      <a:pt x="2159" y="16320"/>
                    </a:lnTo>
                    <a:lnTo>
                      <a:pt x="2159" y="20160"/>
                    </a:lnTo>
                    <a:lnTo>
                      <a:pt x="5400" y="21120"/>
                    </a:lnTo>
                    <a:lnTo>
                      <a:pt x="6479" y="21120"/>
                    </a:lnTo>
                    <a:lnTo>
                      <a:pt x="7560" y="20640"/>
                    </a:lnTo>
                    <a:lnTo>
                      <a:pt x="8639" y="20640"/>
                    </a:lnTo>
                    <a:lnTo>
                      <a:pt x="8639" y="21120"/>
                    </a:lnTo>
                    <a:lnTo>
                      <a:pt x="9719" y="21600"/>
                    </a:lnTo>
                    <a:lnTo>
                      <a:pt x="9719" y="20640"/>
                    </a:lnTo>
                    <a:lnTo>
                      <a:pt x="12959" y="17759"/>
                    </a:lnTo>
                    <a:lnTo>
                      <a:pt x="15120" y="17759"/>
                    </a:lnTo>
                    <a:lnTo>
                      <a:pt x="17279" y="16800"/>
                    </a:lnTo>
                    <a:lnTo>
                      <a:pt x="14039" y="15359"/>
                    </a:lnTo>
                    <a:lnTo>
                      <a:pt x="16199" y="14400"/>
                    </a:lnTo>
                    <a:lnTo>
                      <a:pt x="17279" y="12480"/>
                    </a:lnTo>
                    <a:lnTo>
                      <a:pt x="17279" y="10080"/>
                    </a:lnTo>
                    <a:lnTo>
                      <a:pt x="15120" y="7679"/>
                    </a:lnTo>
                    <a:lnTo>
                      <a:pt x="17279" y="5280"/>
                    </a:lnTo>
                    <a:lnTo>
                      <a:pt x="18359" y="3359"/>
                    </a:lnTo>
                    <a:lnTo>
                      <a:pt x="21599" y="1919"/>
                    </a:lnTo>
                    <a:lnTo>
                      <a:pt x="21599" y="959"/>
                    </a:lnTo>
                    <a:lnTo>
                      <a:pt x="18359" y="479"/>
                    </a:lnTo>
                    <a:lnTo>
                      <a:pt x="16199" y="0"/>
                    </a:lnTo>
                    <a:lnTo>
                      <a:pt x="15120" y="0"/>
                    </a:lnTo>
                    <a:lnTo>
                      <a:pt x="6479" y="479"/>
                    </a:lnTo>
                    <a:lnTo>
                      <a:pt x="323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0" name="AutoShape 58"/>
              <p:cNvSpPr>
                <a:spLocks/>
              </p:cNvSpPr>
              <p:nvPr/>
            </p:nvSpPr>
            <p:spPr bwMode="auto">
              <a:xfrm>
                <a:off x="235332" y="803985"/>
                <a:ext cx="117475" cy="18722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6646" y="18202"/>
                    </a:moveTo>
                    <a:lnTo>
                      <a:pt x="6230" y="18202"/>
                    </a:lnTo>
                    <a:lnTo>
                      <a:pt x="5815" y="17959"/>
                    </a:lnTo>
                    <a:lnTo>
                      <a:pt x="4984" y="17959"/>
                    </a:lnTo>
                    <a:lnTo>
                      <a:pt x="3323" y="17474"/>
                    </a:lnTo>
                    <a:lnTo>
                      <a:pt x="2492" y="17474"/>
                    </a:lnTo>
                    <a:lnTo>
                      <a:pt x="2492" y="17231"/>
                    </a:lnTo>
                    <a:lnTo>
                      <a:pt x="1246" y="14076"/>
                    </a:lnTo>
                    <a:lnTo>
                      <a:pt x="1661" y="13833"/>
                    </a:lnTo>
                    <a:lnTo>
                      <a:pt x="1246" y="13591"/>
                    </a:lnTo>
                    <a:lnTo>
                      <a:pt x="830" y="13105"/>
                    </a:lnTo>
                    <a:lnTo>
                      <a:pt x="415" y="12862"/>
                    </a:lnTo>
                    <a:lnTo>
                      <a:pt x="0" y="12377"/>
                    </a:lnTo>
                    <a:lnTo>
                      <a:pt x="0" y="11892"/>
                    </a:lnTo>
                    <a:lnTo>
                      <a:pt x="2076" y="10678"/>
                    </a:lnTo>
                    <a:lnTo>
                      <a:pt x="1661" y="10678"/>
                    </a:lnTo>
                    <a:lnTo>
                      <a:pt x="1661" y="10435"/>
                    </a:lnTo>
                    <a:lnTo>
                      <a:pt x="1246" y="10435"/>
                    </a:lnTo>
                    <a:lnTo>
                      <a:pt x="1246" y="10193"/>
                    </a:lnTo>
                    <a:lnTo>
                      <a:pt x="2492" y="9222"/>
                    </a:lnTo>
                    <a:lnTo>
                      <a:pt x="3738" y="9222"/>
                    </a:lnTo>
                    <a:lnTo>
                      <a:pt x="3738" y="7523"/>
                    </a:lnTo>
                    <a:lnTo>
                      <a:pt x="3323" y="7523"/>
                    </a:lnTo>
                    <a:lnTo>
                      <a:pt x="3323" y="7038"/>
                    </a:lnTo>
                    <a:lnTo>
                      <a:pt x="3738" y="7038"/>
                    </a:lnTo>
                    <a:lnTo>
                      <a:pt x="3738" y="6795"/>
                    </a:lnTo>
                    <a:lnTo>
                      <a:pt x="4153" y="6795"/>
                    </a:lnTo>
                    <a:lnTo>
                      <a:pt x="4153" y="6552"/>
                    </a:lnTo>
                    <a:lnTo>
                      <a:pt x="4569" y="6310"/>
                    </a:lnTo>
                    <a:lnTo>
                      <a:pt x="4569" y="5824"/>
                    </a:lnTo>
                    <a:lnTo>
                      <a:pt x="4153" y="5339"/>
                    </a:lnTo>
                    <a:lnTo>
                      <a:pt x="3738" y="4611"/>
                    </a:lnTo>
                    <a:lnTo>
                      <a:pt x="4984" y="4125"/>
                    </a:lnTo>
                    <a:lnTo>
                      <a:pt x="6230" y="3883"/>
                    </a:lnTo>
                    <a:lnTo>
                      <a:pt x="7476" y="3397"/>
                    </a:lnTo>
                    <a:lnTo>
                      <a:pt x="8307" y="3883"/>
                    </a:lnTo>
                    <a:lnTo>
                      <a:pt x="9138" y="3155"/>
                    </a:lnTo>
                    <a:lnTo>
                      <a:pt x="9138" y="485"/>
                    </a:lnTo>
                    <a:lnTo>
                      <a:pt x="13292" y="0"/>
                    </a:lnTo>
                    <a:lnTo>
                      <a:pt x="12876" y="728"/>
                    </a:lnTo>
                    <a:lnTo>
                      <a:pt x="13707" y="1456"/>
                    </a:lnTo>
                    <a:lnTo>
                      <a:pt x="15369" y="1698"/>
                    </a:lnTo>
                    <a:lnTo>
                      <a:pt x="15784" y="2426"/>
                    </a:lnTo>
                    <a:lnTo>
                      <a:pt x="14953" y="2912"/>
                    </a:lnTo>
                    <a:lnTo>
                      <a:pt x="14953" y="4853"/>
                    </a:lnTo>
                    <a:lnTo>
                      <a:pt x="16199" y="4853"/>
                    </a:lnTo>
                    <a:lnTo>
                      <a:pt x="17030" y="5096"/>
                    </a:lnTo>
                    <a:lnTo>
                      <a:pt x="17446" y="5096"/>
                    </a:lnTo>
                    <a:lnTo>
                      <a:pt x="15369" y="5096"/>
                    </a:lnTo>
                    <a:lnTo>
                      <a:pt x="15369" y="5339"/>
                    </a:lnTo>
                    <a:lnTo>
                      <a:pt x="16199" y="6067"/>
                    </a:lnTo>
                    <a:lnTo>
                      <a:pt x="16199" y="6552"/>
                    </a:lnTo>
                    <a:lnTo>
                      <a:pt x="15369" y="7038"/>
                    </a:lnTo>
                    <a:lnTo>
                      <a:pt x="14953" y="7038"/>
                    </a:lnTo>
                    <a:lnTo>
                      <a:pt x="14953" y="8008"/>
                    </a:lnTo>
                    <a:lnTo>
                      <a:pt x="15784" y="8251"/>
                    </a:lnTo>
                    <a:lnTo>
                      <a:pt x="15369" y="8251"/>
                    </a:lnTo>
                    <a:lnTo>
                      <a:pt x="13707" y="9222"/>
                    </a:lnTo>
                    <a:lnTo>
                      <a:pt x="13707" y="10435"/>
                    </a:lnTo>
                    <a:lnTo>
                      <a:pt x="13292" y="10678"/>
                    </a:lnTo>
                    <a:lnTo>
                      <a:pt x="13292" y="10921"/>
                    </a:lnTo>
                    <a:lnTo>
                      <a:pt x="12876" y="11164"/>
                    </a:lnTo>
                    <a:lnTo>
                      <a:pt x="13707" y="11649"/>
                    </a:lnTo>
                    <a:lnTo>
                      <a:pt x="15369" y="11406"/>
                    </a:lnTo>
                    <a:lnTo>
                      <a:pt x="16615" y="11406"/>
                    </a:lnTo>
                    <a:lnTo>
                      <a:pt x="18276" y="11892"/>
                    </a:lnTo>
                    <a:lnTo>
                      <a:pt x="18276" y="13105"/>
                    </a:lnTo>
                    <a:lnTo>
                      <a:pt x="19938" y="13348"/>
                    </a:lnTo>
                    <a:lnTo>
                      <a:pt x="20769" y="14076"/>
                    </a:lnTo>
                    <a:lnTo>
                      <a:pt x="21600" y="16017"/>
                    </a:lnTo>
                    <a:lnTo>
                      <a:pt x="21184" y="16017"/>
                    </a:lnTo>
                    <a:lnTo>
                      <a:pt x="21184" y="16260"/>
                    </a:lnTo>
                    <a:lnTo>
                      <a:pt x="20769" y="16746"/>
                    </a:lnTo>
                    <a:lnTo>
                      <a:pt x="19938" y="16746"/>
                    </a:lnTo>
                    <a:lnTo>
                      <a:pt x="18276" y="17474"/>
                    </a:lnTo>
                    <a:lnTo>
                      <a:pt x="16199" y="17959"/>
                    </a:lnTo>
                    <a:lnTo>
                      <a:pt x="16199" y="19173"/>
                    </a:lnTo>
                    <a:lnTo>
                      <a:pt x="16615" y="19173"/>
                    </a:lnTo>
                    <a:lnTo>
                      <a:pt x="16615" y="19901"/>
                    </a:lnTo>
                    <a:lnTo>
                      <a:pt x="15784" y="19901"/>
                    </a:lnTo>
                    <a:lnTo>
                      <a:pt x="14538" y="19658"/>
                    </a:lnTo>
                    <a:lnTo>
                      <a:pt x="12046" y="20629"/>
                    </a:lnTo>
                    <a:lnTo>
                      <a:pt x="9969" y="20871"/>
                    </a:lnTo>
                    <a:lnTo>
                      <a:pt x="7476" y="21357"/>
                    </a:lnTo>
                    <a:lnTo>
                      <a:pt x="5399" y="21599"/>
                    </a:lnTo>
                    <a:lnTo>
                      <a:pt x="5399" y="21114"/>
                    </a:lnTo>
                    <a:lnTo>
                      <a:pt x="6230" y="19658"/>
                    </a:lnTo>
                    <a:lnTo>
                      <a:pt x="6230" y="18930"/>
                    </a:lnTo>
                    <a:lnTo>
                      <a:pt x="6646" y="1820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1" name="AutoShape 59"/>
              <p:cNvSpPr>
                <a:spLocks/>
              </p:cNvSpPr>
              <p:nvPr/>
            </p:nvSpPr>
            <p:spPr bwMode="auto">
              <a:xfrm>
                <a:off x="208344" y="842064"/>
                <a:ext cx="52388" cy="6505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1269" y="21600"/>
                    </a:moveTo>
                    <a:lnTo>
                      <a:pt x="10330" y="20903"/>
                    </a:lnTo>
                    <a:lnTo>
                      <a:pt x="9391" y="20903"/>
                    </a:lnTo>
                    <a:lnTo>
                      <a:pt x="7513" y="20206"/>
                    </a:lnTo>
                    <a:lnTo>
                      <a:pt x="6573" y="19509"/>
                    </a:lnTo>
                    <a:lnTo>
                      <a:pt x="6573" y="18812"/>
                    </a:lnTo>
                    <a:lnTo>
                      <a:pt x="0" y="16025"/>
                    </a:lnTo>
                    <a:lnTo>
                      <a:pt x="2817" y="13935"/>
                    </a:lnTo>
                    <a:lnTo>
                      <a:pt x="2817" y="13238"/>
                    </a:lnTo>
                    <a:lnTo>
                      <a:pt x="3756" y="12541"/>
                    </a:lnTo>
                    <a:lnTo>
                      <a:pt x="3756" y="11845"/>
                    </a:lnTo>
                    <a:lnTo>
                      <a:pt x="4695" y="10451"/>
                    </a:lnTo>
                    <a:lnTo>
                      <a:pt x="5634" y="9754"/>
                    </a:lnTo>
                    <a:lnTo>
                      <a:pt x="5634" y="7664"/>
                    </a:lnTo>
                    <a:lnTo>
                      <a:pt x="6573" y="6967"/>
                    </a:lnTo>
                    <a:lnTo>
                      <a:pt x="7513" y="5574"/>
                    </a:lnTo>
                    <a:lnTo>
                      <a:pt x="9391" y="3483"/>
                    </a:lnTo>
                    <a:lnTo>
                      <a:pt x="10330" y="2090"/>
                    </a:lnTo>
                    <a:lnTo>
                      <a:pt x="13147" y="696"/>
                    </a:lnTo>
                    <a:lnTo>
                      <a:pt x="15026" y="0"/>
                    </a:lnTo>
                    <a:lnTo>
                      <a:pt x="18782" y="0"/>
                    </a:lnTo>
                    <a:lnTo>
                      <a:pt x="19721" y="696"/>
                    </a:lnTo>
                    <a:lnTo>
                      <a:pt x="20660" y="2090"/>
                    </a:lnTo>
                    <a:lnTo>
                      <a:pt x="20660" y="2787"/>
                    </a:lnTo>
                    <a:lnTo>
                      <a:pt x="21600" y="4180"/>
                    </a:lnTo>
                    <a:lnTo>
                      <a:pt x="20660" y="6270"/>
                    </a:lnTo>
                    <a:lnTo>
                      <a:pt x="19721" y="7664"/>
                    </a:lnTo>
                    <a:lnTo>
                      <a:pt x="18782" y="7664"/>
                    </a:lnTo>
                    <a:lnTo>
                      <a:pt x="18782" y="8361"/>
                    </a:lnTo>
                    <a:lnTo>
                      <a:pt x="19721" y="9058"/>
                    </a:lnTo>
                    <a:lnTo>
                      <a:pt x="19721" y="13935"/>
                    </a:lnTo>
                    <a:lnTo>
                      <a:pt x="16904" y="13935"/>
                    </a:lnTo>
                    <a:lnTo>
                      <a:pt x="15026" y="16025"/>
                    </a:lnTo>
                    <a:lnTo>
                      <a:pt x="14086" y="16722"/>
                    </a:lnTo>
                    <a:lnTo>
                      <a:pt x="14086" y="17419"/>
                    </a:lnTo>
                    <a:lnTo>
                      <a:pt x="15965" y="18116"/>
                    </a:lnTo>
                    <a:lnTo>
                      <a:pt x="11269" y="21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2" name="AutoShape 60"/>
              <p:cNvSpPr>
                <a:spLocks/>
              </p:cNvSpPr>
              <p:nvPr/>
            </p:nvSpPr>
            <p:spPr bwMode="auto">
              <a:xfrm>
                <a:off x="198819" y="889663"/>
                <a:ext cx="46038" cy="4918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319" y="0"/>
                    </a:moveTo>
                    <a:lnTo>
                      <a:pt x="11879" y="3756"/>
                    </a:lnTo>
                    <a:lnTo>
                      <a:pt x="11879" y="4695"/>
                    </a:lnTo>
                    <a:lnTo>
                      <a:pt x="12959" y="5634"/>
                    </a:lnTo>
                    <a:lnTo>
                      <a:pt x="15120" y="6573"/>
                    </a:lnTo>
                    <a:lnTo>
                      <a:pt x="16199" y="6573"/>
                    </a:lnTo>
                    <a:lnTo>
                      <a:pt x="17279" y="7513"/>
                    </a:lnTo>
                    <a:lnTo>
                      <a:pt x="17279" y="10330"/>
                    </a:lnTo>
                    <a:lnTo>
                      <a:pt x="18359" y="11269"/>
                    </a:lnTo>
                    <a:lnTo>
                      <a:pt x="19439" y="13147"/>
                    </a:lnTo>
                    <a:lnTo>
                      <a:pt x="21599" y="15026"/>
                    </a:lnTo>
                    <a:lnTo>
                      <a:pt x="19439" y="16904"/>
                    </a:lnTo>
                    <a:lnTo>
                      <a:pt x="17279" y="17843"/>
                    </a:lnTo>
                    <a:lnTo>
                      <a:pt x="16199" y="18782"/>
                    </a:lnTo>
                    <a:lnTo>
                      <a:pt x="16199" y="19721"/>
                    </a:lnTo>
                    <a:lnTo>
                      <a:pt x="15120" y="20660"/>
                    </a:lnTo>
                    <a:lnTo>
                      <a:pt x="15120" y="21600"/>
                    </a:lnTo>
                    <a:lnTo>
                      <a:pt x="12959" y="17843"/>
                    </a:lnTo>
                    <a:lnTo>
                      <a:pt x="10800" y="17843"/>
                    </a:lnTo>
                    <a:lnTo>
                      <a:pt x="10800" y="16904"/>
                    </a:lnTo>
                    <a:lnTo>
                      <a:pt x="9719" y="16904"/>
                    </a:lnTo>
                    <a:lnTo>
                      <a:pt x="7560" y="13147"/>
                    </a:lnTo>
                    <a:lnTo>
                      <a:pt x="7560" y="12208"/>
                    </a:lnTo>
                    <a:lnTo>
                      <a:pt x="8639" y="11269"/>
                    </a:lnTo>
                    <a:lnTo>
                      <a:pt x="8639" y="10330"/>
                    </a:lnTo>
                    <a:lnTo>
                      <a:pt x="0" y="2817"/>
                    </a:lnTo>
                    <a:lnTo>
                      <a:pt x="1080" y="2817"/>
                    </a:lnTo>
                    <a:lnTo>
                      <a:pt x="431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3" name="AutoShape 61"/>
              <p:cNvSpPr>
                <a:spLocks/>
              </p:cNvSpPr>
              <p:nvPr/>
            </p:nvSpPr>
            <p:spPr bwMode="auto">
              <a:xfrm>
                <a:off x="230569" y="926156"/>
                <a:ext cx="19050" cy="2697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499" y="0"/>
                    </a:moveTo>
                    <a:lnTo>
                      <a:pt x="10800" y="0"/>
                    </a:lnTo>
                    <a:lnTo>
                      <a:pt x="2700" y="4984"/>
                    </a:lnTo>
                    <a:lnTo>
                      <a:pt x="0" y="9969"/>
                    </a:lnTo>
                    <a:lnTo>
                      <a:pt x="2700" y="11630"/>
                    </a:lnTo>
                    <a:lnTo>
                      <a:pt x="2700" y="13292"/>
                    </a:lnTo>
                    <a:lnTo>
                      <a:pt x="13499" y="19938"/>
                    </a:lnTo>
                    <a:lnTo>
                      <a:pt x="21599" y="21599"/>
                    </a:lnTo>
                    <a:lnTo>
                      <a:pt x="1349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4" name="AutoShape 62"/>
              <p:cNvSpPr>
                <a:spLocks/>
              </p:cNvSpPr>
              <p:nvPr/>
            </p:nvSpPr>
            <p:spPr bwMode="auto">
              <a:xfrm>
                <a:off x="382" y="797639"/>
                <a:ext cx="79375" cy="8885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131" y="7714"/>
                    </a:moveTo>
                    <a:lnTo>
                      <a:pt x="17897" y="7714"/>
                    </a:lnTo>
                    <a:lnTo>
                      <a:pt x="16662" y="6685"/>
                    </a:lnTo>
                    <a:lnTo>
                      <a:pt x="16662" y="5142"/>
                    </a:lnTo>
                    <a:lnTo>
                      <a:pt x="16045" y="4628"/>
                    </a:lnTo>
                    <a:lnTo>
                      <a:pt x="14811" y="5657"/>
                    </a:lnTo>
                    <a:lnTo>
                      <a:pt x="14194" y="5657"/>
                    </a:lnTo>
                    <a:lnTo>
                      <a:pt x="12959" y="4628"/>
                    </a:lnTo>
                    <a:lnTo>
                      <a:pt x="12342" y="4628"/>
                    </a:lnTo>
                    <a:lnTo>
                      <a:pt x="11725" y="3599"/>
                    </a:lnTo>
                    <a:lnTo>
                      <a:pt x="11725" y="3085"/>
                    </a:lnTo>
                    <a:lnTo>
                      <a:pt x="12342" y="2057"/>
                    </a:lnTo>
                    <a:lnTo>
                      <a:pt x="15428" y="514"/>
                    </a:lnTo>
                    <a:lnTo>
                      <a:pt x="11725" y="0"/>
                    </a:lnTo>
                    <a:lnTo>
                      <a:pt x="9257" y="1542"/>
                    </a:lnTo>
                    <a:lnTo>
                      <a:pt x="9257" y="3599"/>
                    </a:lnTo>
                    <a:lnTo>
                      <a:pt x="9874" y="3599"/>
                    </a:lnTo>
                    <a:lnTo>
                      <a:pt x="9874" y="4114"/>
                    </a:lnTo>
                    <a:lnTo>
                      <a:pt x="9257" y="4628"/>
                    </a:lnTo>
                    <a:lnTo>
                      <a:pt x="8639" y="5657"/>
                    </a:lnTo>
                    <a:lnTo>
                      <a:pt x="6171" y="6685"/>
                    </a:lnTo>
                    <a:lnTo>
                      <a:pt x="2468" y="5657"/>
                    </a:lnTo>
                    <a:lnTo>
                      <a:pt x="617" y="6171"/>
                    </a:lnTo>
                    <a:lnTo>
                      <a:pt x="0" y="6685"/>
                    </a:lnTo>
                    <a:lnTo>
                      <a:pt x="0" y="8228"/>
                    </a:lnTo>
                    <a:lnTo>
                      <a:pt x="617" y="9257"/>
                    </a:lnTo>
                    <a:lnTo>
                      <a:pt x="1851" y="9257"/>
                    </a:lnTo>
                    <a:lnTo>
                      <a:pt x="3085" y="9771"/>
                    </a:lnTo>
                    <a:lnTo>
                      <a:pt x="4319" y="11828"/>
                    </a:lnTo>
                    <a:lnTo>
                      <a:pt x="4937" y="13885"/>
                    </a:lnTo>
                    <a:lnTo>
                      <a:pt x="4937" y="18514"/>
                    </a:lnTo>
                    <a:lnTo>
                      <a:pt x="4319" y="19028"/>
                    </a:lnTo>
                    <a:lnTo>
                      <a:pt x="4319" y="20571"/>
                    </a:lnTo>
                    <a:lnTo>
                      <a:pt x="4937" y="21085"/>
                    </a:lnTo>
                    <a:lnTo>
                      <a:pt x="6171" y="21600"/>
                    </a:lnTo>
                    <a:lnTo>
                      <a:pt x="8022" y="21600"/>
                    </a:lnTo>
                    <a:lnTo>
                      <a:pt x="9257" y="21085"/>
                    </a:lnTo>
                    <a:lnTo>
                      <a:pt x="12959" y="20057"/>
                    </a:lnTo>
                    <a:lnTo>
                      <a:pt x="16662" y="18514"/>
                    </a:lnTo>
                    <a:lnTo>
                      <a:pt x="19131" y="16971"/>
                    </a:lnTo>
                    <a:lnTo>
                      <a:pt x="20365" y="15942"/>
                    </a:lnTo>
                    <a:lnTo>
                      <a:pt x="20982" y="14399"/>
                    </a:lnTo>
                    <a:lnTo>
                      <a:pt x="21600" y="13371"/>
                    </a:lnTo>
                    <a:lnTo>
                      <a:pt x="21600" y="12857"/>
                    </a:lnTo>
                    <a:lnTo>
                      <a:pt x="20982" y="12342"/>
                    </a:lnTo>
                    <a:lnTo>
                      <a:pt x="20982" y="11828"/>
                    </a:lnTo>
                    <a:lnTo>
                      <a:pt x="19748" y="9771"/>
                    </a:lnTo>
                    <a:lnTo>
                      <a:pt x="19748" y="8742"/>
                    </a:lnTo>
                    <a:lnTo>
                      <a:pt x="19131" y="8228"/>
                    </a:lnTo>
                    <a:lnTo>
                      <a:pt x="19131" y="771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5" name="AutoShape 63"/>
              <p:cNvSpPr>
                <a:spLocks/>
              </p:cNvSpPr>
              <p:nvPr/>
            </p:nvSpPr>
            <p:spPr bwMode="auto">
              <a:xfrm>
                <a:off x="68644" y="711961"/>
                <a:ext cx="120650" cy="20943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000" y="215"/>
                    </a:moveTo>
                    <a:lnTo>
                      <a:pt x="7200" y="215"/>
                    </a:lnTo>
                    <a:lnTo>
                      <a:pt x="6400" y="0"/>
                    </a:lnTo>
                    <a:lnTo>
                      <a:pt x="5599" y="0"/>
                    </a:lnTo>
                    <a:lnTo>
                      <a:pt x="4800" y="215"/>
                    </a:lnTo>
                    <a:lnTo>
                      <a:pt x="2799" y="1727"/>
                    </a:lnTo>
                    <a:lnTo>
                      <a:pt x="3199" y="1943"/>
                    </a:lnTo>
                    <a:lnTo>
                      <a:pt x="3199" y="2807"/>
                    </a:lnTo>
                    <a:lnTo>
                      <a:pt x="2799" y="3455"/>
                    </a:lnTo>
                    <a:lnTo>
                      <a:pt x="1599" y="4103"/>
                    </a:lnTo>
                    <a:lnTo>
                      <a:pt x="1199" y="4751"/>
                    </a:lnTo>
                    <a:lnTo>
                      <a:pt x="799" y="5183"/>
                    </a:lnTo>
                    <a:lnTo>
                      <a:pt x="799" y="5615"/>
                    </a:lnTo>
                    <a:lnTo>
                      <a:pt x="1199" y="6047"/>
                    </a:lnTo>
                    <a:lnTo>
                      <a:pt x="2799" y="5831"/>
                    </a:lnTo>
                    <a:lnTo>
                      <a:pt x="2799" y="6047"/>
                    </a:lnTo>
                    <a:lnTo>
                      <a:pt x="2399" y="6263"/>
                    </a:lnTo>
                    <a:lnTo>
                      <a:pt x="2399" y="7127"/>
                    </a:lnTo>
                    <a:lnTo>
                      <a:pt x="2799" y="7559"/>
                    </a:lnTo>
                    <a:lnTo>
                      <a:pt x="3199" y="7775"/>
                    </a:lnTo>
                    <a:lnTo>
                      <a:pt x="4800" y="8207"/>
                    </a:lnTo>
                    <a:lnTo>
                      <a:pt x="4800" y="8855"/>
                    </a:lnTo>
                    <a:lnTo>
                      <a:pt x="4399" y="9071"/>
                    </a:lnTo>
                    <a:lnTo>
                      <a:pt x="4399" y="9287"/>
                    </a:lnTo>
                    <a:lnTo>
                      <a:pt x="3599" y="10151"/>
                    </a:lnTo>
                    <a:lnTo>
                      <a:pt x="3599" y="10367"/>
                    </a:lnTo>
                    <a:lnTo>
                      <a:pt x="4399" y="10800"/>
                    </a:lnTo>
                    <a:lnTo>
                      <a:pt x="6400" y="9935"/>
                    </a:lnTo>
                    <a:lnTo>
                      <a:pt x="8800" y="10151"/>
                    </a:lnTo>
                    <a:lnTo>
                      <a:pt x="7200" y="11015"/>
                    </a:lnTo>
                    <a:lnTo>
                      <a:pt x="6800" y="12311"/>
                    </a:lnTo>
                    <a:lnTo>
                      <a:pt x="8000" y="12311"/>
                    </a:lnTo>
                    <a:lnTo>
                      <a:pt x="8000" y="13823"/>
                    </a:lnTo>
                    <a:lnTo>
                      <a:pt x="4399" y="13823"/>
                    </a:lnTo>
                    <a:lnTo>
                      <a:pt x="4399" y="14903"/>
                    </a:lnTo>
                    <a:lnTo>
                      <a:pt x="5599" y="15120"/>
                    </a:lnTo>
                    <a:lnTo>
                      <a:pt x="4000" y="16415"/>
                    </a:lnTo>
                    <a:lnTo>
                      <a:pt x="4000" y="16631"/>
                    </a:lnTo>
                    <a:lnTo>
                      <a:pt x="3599" y="16631"/>
                    </a:lnTo>
                    <a:lnTo>
                      <a:pt x="3599" y="17279"/>
                    </a:lnTo>
                    <a:lnTo>
                      <a:pt x="4000" y="17279"/>
                    </a:lnTo>
                    <a:lnTo>
                      <a:pt x="7600" y="17711"/>
                    </a:lnTo>
                    <a:lnTo>
                      <a:pt x="9600" y="17279"/>
                    </a:lnTo>
                    <a:lnTo>
                      <a:pt x="10400" y="17063"/>
                    </a:lnTo>
                    <a:lnTo>
                      <a:pt x="10400" y="17495"/>
                    </a:lnTo>
                    <a:lnTo>
                      <a:pt x="8800" y="17927"/>
                    </a:lnTo>
                    <a:lnTo>
                      <a:pt x="4000" y="19007"/>
                    </a:lnTo>
                    <a:lnTo>
                      <a:pt x="0" y="21167"/>
                    </a:lnTo>
                    <a:lnTo>
                      <a:pt x="1999" y="21600"/>
                    </a:lnTo>
                    <a:lnTo>
                      <a:pt x="5599" y="20519"/>
                    </a:lnTo>
                    <a:lnTo>
                      <a:pt x="7200" y="20303"/>
                    </a:lnTo>
                    <a:lnTo>
                      <a:pt x="11600" y="20303"/>
                    </a:lnTo>
                    <a:lnTo>
                      <a:pt x="16800" y="19655"/>
                    </a:lnTo>
                    <a:lnTo>
                      <a:pt x="21600" y="18791"/>
                    </a:lnTo>
                    <a:lnTo>
                      <a:pt x="19200" y="17711"/>
                    </a:lnTo>
                    <a:lnTo>
                      <a:pt x="19600" y="17711"/>
                    </a:lnTo>
                    <a:lnTo>
                      <a:pt x="20000" y="17495"/>
                    </a:lnTo>
                    <a:lnTo>
                      <a:pt x="20400" y="17063"/>
                    </a:lnTo>
                    <a:lnTo>
                      <a:pt x="20400" y="15983"/>
                    </a:lnTo>
                    <a:lnTo>
                      <a:pt x="20000" y="15767"/>
                    </a:lnTo>
                    <a:lnTo>
                      <a:pt x="19600" y="15335"/>
                    </a:lnTo>
                    <a:lnTo>
                      <a:pt x="18000" y="14903"/>
                    </a:lnTo>
                    <a:lnTo>
                      <a:pt x="17600" y="14687"/>
                    </a:lnTo>
                    <a:lnTo>
                      <a:pt x="17200" y="14255"/>
                    </a:lnTo>
                    <a:lnTo>
                      <a:pt x="16800" y="12960"/>
                    </a:lnTo>
                    <a:lnTo>
                      <a:pt x="15600" y="11663"/>
                    </a:lnTo>
                    <a:lnTo>
                      <a:pt x="13200" y="10800"/>
                    </a:lnTo>
                    <a:lnTo>
                      <a:pt x="13200" y="10151"/>
                    </a:lnTo>
                    <a:lnTo>
                      <a:pt x="12800" y="9071"/>
                    </a:lnTo>
                    <a:lnTo>
                      <a:pt x="12000" y="7775"/>
                    </a:lnTo>
                    <a:lnTo>
                      <a:pt x="11200" y="7343"/>
                    </a:lnTo>
                    <a:lnTo>
                      <a:pt x="9600" y="6695"/>
                    </a:lnTo>
                    <a:lnTo>
                      <a:pt x="11200" y="4751"/>
                    </a:lnTo>
                    <a:lnTo>
                      <a:pt x="11200" y="4535"/>
                    </a:lnTo>
                    <a:lnTo>
                      <a:pt x="10800" y="4103"/>
                    </a:lnTo>
                    <a:lnTo>
                      <a:pt x="10400" y="3887"/>
                    </a:lnTo>
                    <a:lnTo>
                      <a:pt x="10400" y="3671"/>
                    </a:lnTo>
                    <a:lnTo>
                      <a:pt x="9600" y="3671"/>
                    </a:lnTo>
                    <a:lnTo>
                      <a:pt x="9200" y="3455"/>
                    </a:lnTo>
                    <a:lnTo>
                      <a:pt x="8800" y="3455"/>
                    </a:lnTo>
                    <a:lnTo>
                      <a:pt x="8800" y="3239"/>
                    </a:lnTo>
                    <a:lnTo>
                      <a:pt x="7200" y="3023"/>
                    </a:lnTo>
                    <a:lnTo>
                      <a:pt x="6800" y="3023"/>
                    </a:lnTo>
                    <a:lnTo>
                      <a:pt x="6800" y="2159"/>
                    </a:lnTo>
                    <a:lnTo>
                      <a:pt x="7200" y="1727"/>
                    </a:lnTo>
                    <a:lnTo>
                      <a:pt x="8000" y="1295"/>
                    </a:lnTo>
                    <a:lnTo>
                      <a:pt x="8000" y="863"/>
                    </a:lnTo>
                    <a:lnTo>
                      <a:pt x="8400" y="647"/>
                    </a:lnTo>
                    <a:lnTo>
                      <a:pt x="8000" y="431"/>
                    </a:lnTo>
                    <a:lnTo>
                      <a:pt x="8000" y="21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6" name="AutoShape 64"/>
              <p:cNvSpPr>
                <a:spLocks/>
              </p:cNvSpPr>
              <p:nvPr/>
            </p:nvSpPr>
            <p:spPr bwMode="auto">
              <a:xfrm>
                <a:off x="43244" y="797639"/>
                <a:ext cx="41275" cy="3332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599" y="0"/>
                    </a:moveTo>
                    <a:lnTo>
                      <a:pt x="16799" y="0"/>
                    </a:lnTo>
                    <a:lnTo>
                      <a:pt x="17999" y="1349"/>
                    </a:lnTo>
                    <a:lnTo>
                      <a:pt x="19199" y="4050"/>
                    </a:lnTo>
                    <a:lnTo>
                      <a:pt x="20399" y="5399"/>
                    </a:lnTo>
                    <a:lnTo>
                      <a:pt x="21599" y="8100"/>
                    </a:lnTo>
                    <a:lnTo>
                      <a:pt x="21599" y="14850"/>
                    </a:lnTo>
                    <a:lnTo>
                      <a:pt x="19199" y="18899"/>
                    </a:lnTo>
                    <a:lnTo>
                      <a:pt x="16799" y="21600"/>
                    </a:lnTo>
                    <a:lnTo>
                      <a:pt x="15600" y="20250"/>
                    </a:lnTo>
                    <a:lnTo>
                      <a:pt x="11999" y="20250"/>
                    </a:lnTo>
                    <a:lnTo>
                      <a:pt x="9599" y="17550"/>
                    </a:lnTo>
                    <a:lnTo>
                      <a:pt x="9599" y="13500"/>
                    </a:lnTo>
                    <a:lnTo>
                      <a:pt x="8399" y="12150"/>
                    </a:lnTo>
                    <a:lnTo>
                      <a:pt x="5999" y="14850"/>
                    </a:lnTo>
                    <a:lnTo>
                      <a:pt x="4799" y="14850"/>
                    </a:lnTo>
                    <a:lnTo>
                      <a:pt x="2400" y="12150"/>
                    </a:lnTo>
                    <a:lnTo>
                      <a:pt x="1200" y="12150"/>
                    </a:lnTo>
                    <a:lnTo>
                      <a:pt x="0" y="9449"/>
                    </a:lnTo>
                    <a:lnTo>
                      <a:pt x="0" y="8100"/>
                    </a:lnTo>
                    <a:lnTo>
                      <a:pt x="1200" y="5399"/>
                    </a:lnTo>
                    <a:lnTo>
                      <a:pt x="9599" y="0"/>
                    </a:lnTo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7" name="AutoShape 65"/>
              <p:cNvSpPr>
                <a:spLocks/>
              </p:cNvSpPr>
              <p:nvPr/>
            </p:nvSpPr>
            <p:spPr bwMode="auto">
              <a:xfrm>
                <a:off x="273432" y="743693"/>
                <a:ext cx="41275" cy="6505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7999" y="20206"/>
                    </a:moveTo>
                    <a:lnTo>
                      <a:pt x="17999" y="14632"/>
                    </a:lnTo>
                    <a:lnTo>
                      <a:pt x="16799" y="13238"/>
                    </a:lnTo>
                    <a:lnTo>
                      <a:pt x="17999" y="12541"/>
                    </a:lnTo>
                    <a:lnTo>
                      <a:pt x="17999" y="11148"/>
                    </a:lnTo>
                    <a:lnTo>
                      <a:pt x="19199" y="10451"/>
                    </a:lnTo>
                    <a:lnTo>
                      <a:pt x="21599" y="9754"/>
                    </a:lnTo>
                    <a:lnTo>
                      <a:pt x="21599" y="8361"/>
                    </a:lnTo>
                    <a:lnTo>
                      <a:pt x="20399" y="7664"/>
                    </a:lnTo>
                    <a:lnTo>
                      <a:pt x="20399" y="6270"/>
                    </a:lnTo>
                    <a:lnTo>
                      <a:pt x="19199" y="5574"/>
                    </a:lnTo>
                    <a:lnTo>
                      <a:pt x="17999" y="4180"/>
                    </a:lnTo>
                    <a:lnTo>
                      <a:pt x="17999" y="1393"/>
                    </a:lnTo>
                    <a:lnTo>
                      <a:pt x="16799" y="0"/>
                    </a:lnTo>
                    <a:lnTo>
                      <a:pt x="14399" y="0"/>
                    </a:lnTo>
                    <a:lnTo>
                      <a:pt x="1200" y="6967"/>
                    </a:lnTo>
                    <a:lnTo>
                      <a:pt x="1200" y="7664"/>
                    </a:lnTo>
                    <a:lnTo>
                      <a:pt x="0" y="9058"/>
                    </a:lnTo>
                    <a:lnTo>
                      <a:pt x="0" y="12541"/>
                    </a:lnTo>
                    <a:lnTo>
                      <a:pt x="1200" y="13935"/>
                    </a:lnTo>
                    <a:lnTo>
                      <a:pt x="1200" y="16025"/>
                    </a:lnTo>
                    <a:lnTo>
                      <a:pt x="5999" y="18812"/>
                    </a:lnTo>
                    <a:lnTo>
                      <a:pt x="5999" y="21600"/>
                    </a:lnTo>
                    <a:lnTo>
                      <a:pt x="17999" y="2020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8" name="AutoShape 66"/>
              <p:cNvSpPr>
                <a:spLocks/>
              </p:cNvSpPr>
              <p:nvPr/>
            </p:nvSpPr>
            <p:spPr bwMode="auto">
              <a:xfrm>
                <a:off x="341694" y="389876"/>
                <a:ext cx="190500" cy="40776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15507"/>
                    </a:moveTo>
                    <a:lnTo>
                      <a:pt x="0" y="19384"/>
                    </a:lnTo>
                    <a:lnTo>
                      <a:pt x="1542" y="20381"/>
                    </a:lnTo>
                    <a:lnTo>
                      <a:pt x="2057" y="21489"/>
                    </a:lnTo>
                    <a:lnTo>
                      <a:pt x="3085" y="21600"/>
                    </a:lnTo>
                    <a:lnTo>
                      <a:pt x="4628" y="21378"/>
                    </a:lnTo>
                    <a:lnTo>
                      <a:pt x="4885" y="21156"/>
                    </a:lnTo>
                    <a:lnTo>
                      <a:pt x="5914" y="20713"/>
                    </a:lnTo>
                    <a:lnTo>
                      <a:pt x="6428" y="20603"/>
                    </a:lnTo>
                    <a:lnTo>
                      <a:pt x="6942" y="20603"/>
                    </a:lnTo>
                    <a:lnTo>
                      <a:pt x="6942" y="20492"/>
                    </a:lnTo>
                    <a:lnTo>
                      <a:pt x="7714" y="19938"/>
                    </a:lnTo>
                    <a:lnTo>
                      <a:pt x="8228" y="19163"/>
                    </a:lnTo>
                    <a:lnTo>
                      <a:pt x="8485" y="18498"/>
                    </a:lnTo>
                    <a:lnTo>
                      <a:pt x="8485" y="17723"/>
                    </a:lnTo>
                    <a:lnTo>
                      <a:pt x="10800" y="16615"/>
                    </a:lnTo>
                    <a:lnTo>
                      <a:pt x="11314" y="16393"/>
                    </a:lnTo>
                    <a:lnTo>
                      <a:pt x="11828" y="16061"/>
                    </a:lnTo>
                    <a:lnTo>
                      <a:pt x="11828" y="15840"/>
                    </a:lnTo>
                    <a:lnTo>
                      <a:pt x="12085" y="15618"/>
                    </a:lnTo>
                    <a:lnTo>
                      <a:pt x="12085" y="15396"/>
                    </a:lnTo>
                    <a:lnTo>
                      <a:pt x="11828" y="15396"/>
                    </a:lnTo>
                    <a:lnTo>
                      <a:pt x="11828" y="15064"/>
                    </a:lnTo>
                    <a:lnTo>
                      <a:pt x="11571" y="14843"/>
                    </a:lnTo>
                    <a:lnTo>
                      <a:pt x="10542" y="14621"/>
                    </a:lnTo>
                    <a:lnTo>
                      <a:pt x="10285" y="14621"/>
                    </a:lnTo>
                    <a:lnTo>
                      <a:pt x="10028" y="14510"/>
                    </a:lnTo>
                    <a:lnTo>
                      <a:pt x="9771" y="14510"/>
                    </a:lnTo>
                    <a:lnTo>
                      <a:pt x="10028" y="12627"/>
                    </a:lnTo>
                    <a:lnTo>
                      <a:pt x="10028" y="12738"/>
                    </a:lnTo>
                    <a:lnTo>
                      <a:pt x="10285" y="12516"/>
                    </a:lnTo>
                    <a:lnTo>
                      <a:pt x="10285" y="12073"/>
                    </a:lnTo>
                    <a:lnTo>
                      <a:pt x="10542" y="11741"/>
                    </a:lnTo>
                    <a:lnTo>
                      <a:pt x="11571" y="10855"/>
                    </a:lnTo>
                    <a:lnTo>
                      <a:pt x="12085" y="10744"/>
                    </a:lnTo>
                    <a:lnTo>
                      <a:pt x="12599" y="10523"/>
                    </a:lnTo>
                    <a:lnTo>
                      <a:pt x="13371" y="10412"/>
                    </a:lnTo>
                    <a:lnTo>
                      <a:pt x="13628" y="10190"/>
                    </a:lnTo>
                    <a:lnTo>
                      <a:pt x="14142" y="10190"/>
                    </a:lnTo>
                    <a:lnTo>
                      <a:pt x="14142" y="10079"/>
                    </a:lnTo>
                    <a:lnTo>
                      <a:pt x="14914" y="9747"/>
                    </a:lnTo>
                    <a:lnTo>
                      <a:pt x="15428" y="9415"/>
                    </a:lnTo>
                    <a:lnTo>
                      <a:pt x="15685" y="9083"/>
                    </a:lnTo>
                    <a:lnTo>
                      <a:pt x="15685" y="7753"/>
                    </a:lnTo>
                    <a:lnTo>
                      <a:pt x="17228" y="7199"/>
                    </a:lnTo>
                    <a:lnTo>
                      <a:pt x="18514" y="6646"/>
                    </a:lnTo>
                    <a:lnTo>
                      <a:pt x="20057" y="6535"/>
                    </a:lnTo>
                    <a:lnTo>
                      <a:pt x="21342" y="6646"/>
                    </a:lnTo>
                    <a:lnTo>
                      <a:pt x="21600" y="6535"/>
                    </a:lnTo>
                    <a:lnTo>
                      <a:pt x="21600" y="6424"/>
                    </a:lnTo>
                    <a:lnTo>
                      <a:pt x="21342" y="6313"/>
                    </a:lnTo>
                    <a:lnTo>
                      <a:pt x="20828" y="5870"/>
                    </a:lnTo>
                    <a:lnTo>
                      <a:pt x="19800" y="4763"/>
                    </a:lnTo>
                    <a:lnTo>
                      <a:pt x="19542" y="4430"/>
                    </a:lnTo>
                    <a:lnTo>
                      <a:pt x="19542" y="3987"/>
                    </a:lnTo>
                    <a:lnTo>
                      <a:pt x="20057" y="3766"/>
                    </a:lnTo>
                    <a:lnTo>
                      <a:pt x="20314" y="3544"/>
                    </a:lnTo>
                    <a:lnTo>
                      <a:pt x="20314" y="3323"/>
                    </a:lnTo>
                    <a:lnTo>
                      <a:pt x="20057" y="3101"/>
                    </a:lnTo>
                    <a:lnTo>
                      <a:pt x="19542" y="2769"/>
                    </a:lnTo>
                    <a:lnTo>
                      <a:pt x="18257" y="2326"/>
                    </a:lnTo>
                    <a:lnTo>
                      <a:pt x="17999" y="2104"/>
                    </a:lnTo>
                    <a:lnTo>
                      <a:pt x="17485" y="1772"/>
                    </a:lnTo>
                    <a:lnTo>
                      <a:pt x="16971" y="1550"/>
                    </a:lnTo>
                    <a:lnTo>
                      <a:pt x="16714" y="1329"/>
                    </a:lnTo>
                    <a:lnTo>
                      <a:pt x="16199" y="1218"/>
                    </a:lnTo>
                    <a:lnTo>
                      <a:pt x="15942" y="1107"/>
                    </a:lnTo>
                    <a:lnTo>
                      <a:pt x="15685" y="1107"/>
                    </a:lnTo>
                    <a:lnTo>
                      <a:pt x="15171" y="0"/>
                    </a:lnTo>
                    <a:lnTo>
                      <a:pt x="14657" y="221"/>
                    </a:lnTo>
                    <a:lnTo>
                      <a:pt x="14142" y="332"/>
                    </a:lnTo>
                    <a:lnTo>
                      <a:pt x="11314" y="1550"/>
                    </a:lnTo>
                    <a:lnTo>
                      <a:pt x="10028" y="2658"/>
                    </a:lnTo>
                    <a:lnTo>
                      <a:pt x="10028" y="2879"/>
                    </a:lnTo>
                    <a:lnTo>
                      <a:pt x="9771" y="3101"/>
                    </a:lnTo>
                    <a:lnTo>
                      <a:pt x="9257" y="3323"/>
                    </a:lnTo>
                    <a:lnTo>
                      <a:pt x="9257" y="4541"/>
                    </a:lnTo>
                    <a:lnTo>
                      <a:pt x="8999" y="4541"/>
                    </a:lnTo>
                    <a:lnTo>
                      <a:pt x="8999" y="4652"/>
                    </a:lnTo>
                    <a:lnTo>
                      <a:pt x="8485" y="4873"/>
                    </a:lnTo>
                    <a:lnTo>
                      <a:pt x="8228" y="5095"/>
                    </a:lnTo>
                    <a:lnTo>
                      <a:pt x="7199" y="5538"/>
                    </a:lnTo>
                    <a:lnTo>
                      <a:pt x="6942" y="5759"/>
                    </a:lnTo>
                    <a:lnTo>
                      <a:pt x="6428" y="5870"/>
                    </a:lnTo>
                    <a:lnTo>
                      <a:pt x="6171" y="5870"/>
                    </a:lnTo>
                    <a:lnTo>
                      <a:pt x="5914" y="6756"/>
                    </a:lnTo>
                    <a:lnTo>
                      <a:pt x="4628" y="7753"/>
                    </a:lnTo>
                    <a:lnTo>
                      <a:pt x="4371" y="9083"/>
                    </a:lnTo>
                    <a:lnTo>
                      <a:pt x="1542" y="9858"/>
                    </a:lnTo>
                    <a:lnTo>
                      <a:pt x="2057" y="10190"/>
                    </a:lnTo>
                    <a:lnTo>
                      <a:pt x="2057" y="12960"/>
                    </a:lnTo>
                    <a:lnTo>
                      <a:pt x="1799" y="14400"/>
                    </a:lnTo>
                    <a:lnTo>
                      <a:pt x="1799" y="14732"/>
                    </a:lnTo>
                    <a:lnTo>
                      <a:pt x="1542" y="14953"/>
                    </a:lnTo>
                    <a:lnTo>
                      <a:pt x="1542" y="15175"/>
                    </a:lnTo>
                    <a:lnTo>
                      <a:pt x="1028" y="15396"/>
                    </a:lnTo>
                    <a:lnTo>
                      <a:pt x="514" y="15507"/>
                    </a:lnTo>
                    <a:lnTo>
                      <a:pt x="0" y="1550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49" name="AutoShape 67"/>
              <p:cNvSpPr>
                <a:spLocks/>
              </p:cNvSpPr>
              <p:nvPr/>
            </p:nvSpPr>
            <p:spPr bwMode="auto">
              <a:xfrm>
                <a:off x="475044" y="353383"/>
                <a:ext cx="141288" cy="32525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7767" y="3205"/>
                    </a:moveTo>
                    <a:lnTo>
                      <a:pt x="17767" y="4319"/>
                    </a:lnTo>
                    <a:lnTo>
                      <a:pt x="21251" y="5713"/>
                    </a:lnTo>
                    <a:lnTo>
                      <a:pt x="21251" y="7803"/>
                    </a:lnTo>
                    <a:lnTo>
                      <a:pt x="19161" y="8779"/>
                    </a:lnTo>
                    <a:lnTo>
                      <a:pt x="19509" y="8918"/>
                    </a:lnTo>
                    <a:lnTo>
                      <a:pt x="19509" y="9058"/>
                    </a:lnTo>
                    <a:lnTo>
                      <a:pt x="19858" y="9336"/>
                    </a:lnTo>
                    <a:lnTo>
                      <a:pt x="20206" y="9754"/>
                    </a:lnTo>
                    <a:lnTo>
                      <a:pt x="20554" y="10033"/>
                    </a:lnTo>
                    <a:lnTo>
                      <a:pt x="20554" y="10590"/>
                    </a:lnTo>
                    <a:lnTo>
                      <a:pt x="20206" y="11427"/>
                    </a:lnTo>
                    <a:lnTo>
                      <a:pt x="19858" y="12681"/>
                    </a:lnTo>
                    <a:lnTo>
                      <a:pt x="19858" y="14771"/>
                    </a:lnTo>
                    <a:lnTo>
                      <a:pt x="20554" y="15189"/>
                    </a:lnTo>
                    <a:lnTo>
                      <a:pt x="21251" y="15468"/>
                    </a:lnTo>
                    <a:lnTo>
                      <a:pt x="21599" y="16304"/>
                    </a:lnTo>
                    <a:lnTo>
                      <a:pt x="21599" y="18116"/>
                    </a:lnTo>
                    <a:lnTo>
                      <a:pt x="21251" y="18116"/>
                    </a:lnTo>
                    <a:lnTo>
                      <a:pt x="15677" y="20345"/>
                    </a:lnTo>
                    <a:lnTo>
                      <a:pt x="15677" y="20485"/>
                    </a:lnTo>
                    <a:lnTo>
                      <a:pt x="16025" y="20485"/>
                    </a:lnTo>
                    <a:lnTo>
                      <a:pt x="15329" y="20485"/>
                    </a:lnTo>
                    <a:lnTo>
                      <a:pt x="14632" y="20345"/>
                    </a:lnTo>
                    <a:lnTo>
                      <a:pt x="13935" y="20345"/>
                    </a:lnTo>
                    <a:lnTo>
                      <a:pt x="11845" y="20763"/>
                    </a:lnTo>
                    <a:lnTo>
                      <a:pt x="9406" y="21042"/>
                    </a:lnTo>
                    <a:lnTo>
                      <a:pt x="9058" y="21042"/>
                    </a:lnTo>
                    <a:lnTo>
                      <a:pt x="8361" y="21181"/>
                    </a:lnTo>
                    <a:lnTo>
                      <a:pt x="7664" y="21181"/>
                    </a:lnTo>
                    <a:lnTo>
                      <a:pt x="6619" y="21321"/>
                    </a:lnTo>
                    <a:lnTo>
                      <a:pt x="5922" y="21600"/>
                    </a:lnTo>
                    <a:lnTo>
                      <a:pt x="4180" y="21321"/>
                    </a:lnTo>
                    <a:lnTo>
                      <a:pt x="3832" y="21181"/>
                    </a:lnTo>
                    <a:lnTo>
                      <a:pt x="3483" y="21181"/>
                    </a:lnTo>
                    <a:lnTo>
                      <a:pt x="2787" y="20903"/>
                    </a:lnTo>
                    <a:lnTo>
                      <a:pt x="2090" y="20763"/>
                    </a:lnTo>
                    <a:lnTo>
                      <a:pt x="1045" y="20345"/>
                    </a:lnTo>
                    <a:lnTo>
                      <a:pt x="696" y="20067"/>
                    </a:lnTo>
                    <a:lnTo>
                      <a:pt x="696" y="15886"/>
                    </a:lnTo>
                    <a:lnTo>
                      <a:pt x="1045" y="15607"/>
                    </a:lnTo>
                    <a:lnTo>
                      <a:pt x="1393" y="15189"/>
                    </a:lnTo>
                    <a:lnTo>
                      <a:pt x="2090" y="14771"/>
                    </a:lnTo>
                    <a:lnTo>
                      <a:pt x="3483" y="14353"/>
                    </a:lnTo>
                    <a:lnTo>
                      <a:pt x="7316" y="12959"/>
                    </a:lnTo>
                    <a:lnTo>
                      <a:pt x="8012" y="12820"/>
                    </a:lnTo>
                    <a:lnTo>
                      <a:pt x="8709" y="12402"/>
                    </a:lnTo>
                    <a:lnTo>
                      <a:pt x="9754" y="11845"/>
                    </a:lnTo>
                    <a:lnTo>
                      <a:pt x="9754" y="11009"/>
                    </a:lnTo>
                    <a:lnTo>
                      <a:pt x="8361" y="10312"/>
                    </a:lnTo>
                    <a:lnTo>
                      <a:pt x="8709" y="10172"/>
                    </a:lnTo>
                    <a:lnTo>
                      <a:pt x="8709" y="10033"/>
                    </a:lnTo>
                    <a:lnTo>
                      <a:pt x="8361" y="9894"/>
                    </a:lnTo>
                    <a:lnTo>
                      <a:pt x="7316" y="9197"/>
                    </a:lnTo>
                    <a:lnTo>
                      <a:pt x="6619" y="8500"/>
                    </a:lnTo>
                    <a:lnTo>
                      <a:pt x="5922" y="7664"/>
                    </a:lnTo>
                    <a:lnTo>
                      <a:pt x="5922" y="6967"/>
                    </a:lnTo>
                    <a:lnTo>
                      <a:pt x="6967" y="6549"/>
                    </a:lnTo>
                    <a:lnTo>
                      <a:pt x="6967" y="6270"/>
                    </a:lnTo>
                    <a:lnTo>
                      <a:pt x="6270" y="5713"/>
                    </a:lnTo>
                    <a:lnTo>
                      <a:pt x="5574" y="5295"/>
                    </a:lnTo>
                    <a:lnTo>
                      <a:pt x="4180" y="4877"/>
                    </a:lnTo>
                    <a:lnTo>
                      <a:pt x="3832" y="4738"/>
                    </a:lnTo>
                    <a:lnTo>
                      <a:pt x="3832" y="4598"/>
                    </a:lnTo>
                    <a:lnTo>
                      <a:pt x="3135" y="4319"/>
                    </a:lnTo>
                    <a:lnTo>
                      <a:pt x="2787" y="3901"/>
                    </a:lnTo>
                    <a:lnTo>
                      <a:pt x="696" y="3344"/>
                    </a:lnTo>
                    <a:lnTo>
                      <a:pt x="0" y="1950"/>
                    </a:lnTo>
                    <a:lnTo>
                      <a:pt x="348" y="1811"/>
                    </a:lnTo>
                    <a:lnTo>
                      <a:pt x="1741" y="1393"/>
                    </a:lnTo>
                    <a:lnTo>
                      <a:pt x="3135" y="1114"/>
                    </a:lnTo>
                    <a:lnTo>
                      <a:pt x="4877" y="1114"/>
                    </a:lnTo>
                    <a:lnTo>
                      <a:pt x="6619" y="1532"/>
                    </a:lnTo>
                    <a:lnTo>
                      <a:pt x="6967" y="1672"/>
                    </a:lnTo>
                    <a:lnTo>
                      <a:pt x="8361" y="1672"/>
                    </a:lnTo>
                    <a:lnTo>
                      <a:pt x="10103" y="1532"/>
                    </a:lnTo>
                    <a:lnTo>
                      <a:pt x="11496" y="1393"/>
                    </a:lnTo>
                    <a:lnTo>
                      <a:pt x="12541" y="975"/>
                    </a:lnTo>
                    <a:lnTo>
                      <a:pt x="12541" y="836"/>
                    </a:lnTo>
                    <a:lnTo>
                      <a:pt x="12890" y="557"/>
                    </a:lnTo>
                    <a:lnTo>
                      <a:pt x="13238" y="418"/>
                    </a:lnTo>
                    <a:lnTo>
                      <a:pt x="13587" y="139"/>
                    </a:lnTo>
                    <a:lnTo>
                      <a:pt x="14283" y="139"/>
                    </a:lnTo>
                    <a:lnTo>
                      <a:pt x="14980" y="0"/>
                    </a:lnTo>
                    <a:lnTo>
                      <a:pt x="16025" y="139"/>
                    </a:lnTo>
                    <a:lnTo>
                      <a:pt x="21251" y="1254"/>
                    </a:lnTo>
                    <a:lnTo>
                      <a:pt x="20903" y="1393"/>
                    </a:lnTo>
                    <a:lnTo>
                      <a:pt x="20903" y="1532"/>
                    </a:lnTo>
                    <a:lnTo>
                      <a:pt x="20206" y="1811"/>
                    </a:lnTo>
                    <a:lnTo>
                      <a:pt x="19161" y="1950"/>
                    </a:lnTo>
                    <a:lnTo>
                      <a:pt x="17767" y="320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0" name="AutoShape 68"/>
              <p:cNvSpPr>
                <a:spLocks/>
              </p:cNvSpPr>
              <p:nvPr/>
            </p:nvSpPr>
            <p:spPr bwMode="auto">
              <a:xfrm>
                <a:off x="305182" y="819851"/>
                <a:ext cx="61912" cy="8726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400" y="21600"/>
                    </a:moveTo>
                    <a:lnTo>
                      <a:pt x="7200" y="20571"/>
                    </a:lnTo>
                    <a:lnTo>
                      <a:pt x="4799" y="20571"/>
                    </a:lnTo>
                    <a:lnTo>
                      <a:pt x="1600" y="21085"/>
                    </a:lnTo>
                    <a:lnTo>
                      <a:pt x="0" y="20057"/>
                    </a:lnTo>
                    <a:lnTo>
                      <a:pt x="800" y="19542"/>
                    </a:lnTo>
                    <a:lnTo>
                      <a:pt x="800" y="19028"/>
                    </a:lnTo>
                    <a:lnTo>
                      <a:pt x="1600" y="18514"/>
                    </a:lnTo>
                    <a:lnTo>
                      <a:pt x="1600" y="15942"/>
                    </a:lnTo>
                    <a:lnTo>
                      <a:pt x="4799" y="13885"/>
                    </a:lnTo>
                    <a:lnTo>
                      <a:pt x="5600" y="13885"/>
                    </a:lnTo>
                    <a:lnTo>
                      <a:pt x="4000" y="13371"/>
                    </a:lnTo>
                    <a:lnTo>
                      <a:pt x="4000" y="11314"/>
                    </a:lnTo>
                    <a:lnTo>
                      <a:pt x="4799" y="11314"/>
                    </a:lnTo>
                    <a:lnTo>
                      <a:pt x="6399" y="10285"/>
                    </a:lnTo>
                    <a:lnTo>
                      <a:pt x="6399" y="9257"/>
                    </a:lnTo>
                    <a:lnTo>
                      <a:pt x="4799" y="7714"/>
                    </a:lnTo>
                    <a:lnTo>
                      <a:pt x="4799" y="7199"/>
                    </a:lnTo>
                    <a:lnTo>
                      <a:pt x="7999" y="7199"/>
                    </a:lnTo>
                    <a:lnTo>
                      <a:pt x="6399" y="6685"/>
                    </a:lnTo>
                    <a:lnTo>
                      <a:pt x="4000" y="6685"/>
                    </a:lnTo>
                    <a:lnTo>
                      <a:pt x="4000" y="3599"/>
                    </a:lnTo>
                    <a:lnTo>
                      <a:pt x="4799" y="4114"/>
                    </a:lnTo>
                    <a:lnTo>
                      <a:pt x="5600" y="3599"/>
                    </a:lnTo>
                    <a:lnTo>
                      <a:pt x="6399" y="3599"/>
                    </a:lnTo>
                    <a:lnTo>
                      <a:pt x="7999" y="2571"/>
                    </a:lnTo>
                    <a:lnTo>
                      <a:pt x="12799" y="0"/>
                    </a:lnTo>
                    <a:lnTo>
                      <a:pt x="15199" y="514"/>
                    </a:lnTo>
                    <a:lnTo>
                      <a:pt x="18399" y="3085"/>
                    </a:lnTo>
                    <a:lnTo>
                      <a:pt x="18399" y="8742"/>
                    </a:lnTo>
                    <a:lnTo>
                      <a:pt x="16799" y="8742"/>
                    </a:lnTo>
                    <a:lnTo>
                      <a:pt x="16799" y="9257"/>
                    </a:lnTo>
                    <a:lnTo>
                      <a:pt x="17599" y="9257"/>
                    </a:lnTo>
                    <a:lnTo>
                      <a:pt x="18399" y="10285"/>
                    </a:lnTo>
                    <a:lnTo>
                      <a:pt x="19199" y="10800"/>
                    </a:lnTo>
                    <a:lnTo>
                      <a:pt x="19999" y="10800"/>
                    </a:lnTo>
                    <a:lnTo>
                      <a:pt x="19999" y="11314"/>
                    </a:lnTo>
                    <a:lnTo>
                      <a:pt x="21599" y="12342"/>
                    </a:lnTo>
                    <a:lnTo>
                      <a:pt x="21599" y="12857"/>
                    </a:lnTo>
                    <a:lnTo>
                      <a:pt x="19199" y="14399"/>
                    </a:lnTo>
                    <a:lnTo>
                      <a:pt x="19199" y="14914"/>
                    </a:lnTo>
                    <a:lnTo>
                      <a:pt x="19999" y="15428"/>
                    </a:lnTo>
                    <a:lnTo>
                      <a:pt x="19999" y="16457"/>
                    </a:lnTo>
                    <a:lnTo>
                      <a:pt x="19199" y="16971"/>
                    </a:lnTo>
                    <a:lnTo>
                      <a:pt x="19199" y="17485"/>
                    </a:lnTo>
                    <a:lnTo>
                      <a:pt x="19999" y="17999"/>
                    </a:lnTo>
                    <a:lnTo>
                      <a:pt x="19199" y="17999"/>
                    </a:lnTo>
                    <a:lnTo>
                      <a:pt x="19199" y="18514"/>
                    </a:lnTo>
                    <a:lnTo>
                      <a:pt x="19999" y="19028"/>
                    </a:lnTo>
                    <a:lnTo>
                      <a:pt x="19999" y="20057"/>
                    </a:lnTo>
                    <a:lnTo>
                      <a:pt x="19199" y="20571"/>
                    </a:lnTo>
                    <a:lnTo>
                      <a:pt x="18399" y="19542"/>
                    </a:lnTo>
                    <a:lnTo>
                      <a:pt x="17599" y="19542"/>
                    </a:lnTo>
                    <a:lnTo>
                      <a:pt x="18399" y="20571"/>
                    </a:lnTo>
                    <a:lnTo>
                      <a:pt x="16799" y="20571"/>
                    </a:lnTo>
                    <a:lnTo>
                      <a:pt x="15999" y="21085"/>
                    </a:lnTo>
                    <a:lnTo>
                      <a:pt x="12799" y="21085"/>
                    </a:lnTo>
                    <a:lnTo>
                      <a:pt x="12799" y="21600"/>
                    </a:lnTo>
                    <a:lnTo>
                      <a:pt x="10400" y="21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1" name="AutoShape 69"/>
              <p:cNvSpPr>
                <a:spLocks/>
              </p:cNvSpPr>
              <p:nvPr/>
            </p:nvSpPr>
            <p:spPr bwMode="auto">
              <a:xfrm>
                <a:off x="533782" y="1072126"/>
                <a:ext cx="252412" cy="11582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8128" y="5890"/>
                    </a:moveTo>
                    <a:lnTo>
                      <a:pt x="18514" y="6283"/>
                    </a:lnTo>
                    <a:lnTo>
                      <a:pt x="18707" y="6676"/>
                    </a:lnTo>
                    <a:lnTo>
                      <a:pt x="19478" y="7461"/>
                    </a:lnTo>
                    <a:lnTo>
                      <a:pt x="20249" y="9032"/>
                    </a:lnTo>
                    <a:lnTo>
                      <a:pt x="20828" y="11389"/>
                    </a:lnTo>
                    <a:lnTo>
                      <a:pt x="21214" y="13745"/>
                    </a:lnTo>
                    <a:lnTo>
                      <a:pt x="21600" y="15316"/>
                    </a:lnTo>
                    <a:lnTo>
                      <a:pt x="21600" y="15709"/>
                    </a:lnTo>
                    <a:lnTo>
                      <a:pt x="21407" y="16101"/>
                    </a:lnTo>
                    <a:lnTo>
                      <a:pt x="21214" y="16101"/>
                    </a:lnTo>
                    <a:lnTo>
                      <a:pt x="21021" y="15316"/>
                    </a:lnTo>
                    <a:lnTo>
                      <a:pt x="20057" y="15709"/>
                    </a:lnTo>
                    <a:lnTo>
                      <a:pt x="19285" y="15709"/>
                    </a:lnTo>
                    <a:lnTo>
                      <a:pt x="18707" y="16101"/>
                    </a:lnTo>
                    <a:lnTo>
                      <a:pt x="18321" y="16494"/>
                    </a:lnTo>
                    <a:lnTo>
                      <a:pt x="17742" y="16887"/>
                    </a:lnTo>
                    <a:lnTo>
                      <a:pt x="17550" y="17279"/>
                    </a:lnTo>
                    <a:lnTo>
                      <a:pt x="17357" y="17279"/>
                    </a:lnTo>
                    <a:lnTo>
                      <a:pt x="17164" y="17672"/>
                    </a:lnTo>
                    <a:lnTo>
                      <a:pt x="16778" y="18065"/>
                    </a:lnTo>
                    <a:lnTo>
                      <a:pt x="16199" y="18065"/>
                    </a:lnTo>
                    <a:lnTo>
                      <a:pt x="15621" y="19243"/>
                    </a:lnTo>
                    <a:lnTo>
                      <a:pt x="15235" y="19636"/>
                    </a:lnTo>
                    <a:lnTo>
                      <a:pt x="14657" y="20029"/>
                    </a:lnTo>
                    <a:lnTo>
                      <a:pt x="13114" y="20029"/>
                    </a:lnTo>
                    <a:lnTo>
                      <a:pt x="12342" y="19243"/>
                    </a:lnTo>
                    <a:lnTo>
                      <a:pt x="12149" y="19243"/>
                    </a:lnTo>
                    <a:lnTo>
                      <a:pt x="11957" y="19636"/>
                    </a:lnTo>
                    <a:lnTo>
                      <a:pt x="11957" y="20029"/>
                    </a:lnTo>
                    <a:lnTo>
                      <a:pt x="11571" y="21207"/>
                    </a:lnTo>
                    <a:lnTo>
                      <a:pt x="11378" y="21599"/>
                    </a:lnTo>
                    <a:lnTo>
                      <a:pt x="10992" y="21599"/>
                    </a:lnTo>
                    <a:lnTo>
                      <a:pt x="10800" y="21207"/>
                    </a:lnTo>
                    <a:lnTo>
                      <a:pt x="11185" y="20421"/>
                    </a:lnTo>
                    <a:lnTo>
                      <a:pt x="11185" y="19636"/>
                    </a:lnTo>
                    <a:lnTo>
                      <a:pt x="10414" y="20029"/>
                    </a:lnTo>
                    <a:lnTo>
                      <a:pt x="9835" y="20814"/>
                    </a:lnTo>
                    <a:lnTo>
                      <a:pt x="9450" y="20421"/>
                    </a:lnTo>
                    <a:lnTo>
                      <a:pt x="9064" y="20421"/>
                    </a:lnTo>
                    <a:lnTo>
                      <a:pt x="8871" y="20814"/>
                    </a:lnTo>
                    <a:lnTo>
                      <a:pt x="8485" y="21207"/>
                    </a:lnTo>
                    <a:lnTo>
                      <a:pt x="7907" y="21207"/>
                    </a:lnTo>
                    <a:lnTo>
                      <a:pt x="7714" y="20814"/>
                    </a:lnTo>
                    <a:lnTo>
                      <a:pt x="7328" y="20421"/>
                    </a:lnTo>
                    <a:lnTo>
                      <a:pt x="6749" y="20421"/>
                    </a:lnTo>
                    <a:lnTo>
                      <a:pt x="6171" y="20029"/>
                    </a:lnTo>
                    <a:lnTo>
                      <a:pt x="5785" y="20029"/>
                    </a:lnTo>
                    <a:lnTo>
                      <a:pt x="5592" y="20421"/>
                    </a:lnTo>
                    <a:lnTo>
                      <a:pt x="5592" y="20814"/>
                    </a:lnTo>
                    <a:lnTo>
                      <a:pt x="5207" y="21207"/>
                    </a:lnTo>
                    <a:lnTo>
                      <a:pt x="5014" y="21599"/>
                    </a:lnTo>
                    <a:lnTo>
                      <a:pt x="4435" y="21599"/>
                    </a:lnTo>
                    <a:lnTo>
                      <a:pt x="3664" y="20814"/>
                    </a:lnTo>
                    <a:lnTo>
                      <a:pt x="3085" y="20814"/>
                    </a:lnTo>
                    <a:lnTo>
                      <a:pt x="2892" y="20421"/>
                    </a:lnTo>
                    <a:lnTo>
                      <a:pt x="2121" y="19636"/>
                    </a:lnTo>
                    <a:lnTo>
                      <a:pt x="1735" y="18850"/>
                    </a:lnTo>
                    <a:lnTo>
                      <a:pt x="1349" y="18458"/>
                    </a:lnTo>
                    <a:lnTo>
                      <a:pt x="1157" y="17672"/>
                    </a:lnTo>
                    <a:lnTo>
                      <a:pt x="1157" y="16887"/>
                    </a:lnTo>
                    <a:lnTo>
                      <a:pt x="964" y="16101"/>
                    </a:lnTo>
                    <a:lnTo>
                      <a:pt x="964" y="15316"/>
                    </a:lnTo>
                    <a:lnTo>
                      <a:pt x="192" y="13745"/>
                    </a:lnTo>
                    <a:lnTo>
                      <a:pt x="192" y="12959"/>
                    </a:lnTo>
                    <a:lnTo>
                      <a:pt x="0" y="12174"/>
                    </a:lnTo>
                    <a:lnTo>
                      <a:pt x="0" y="10603"/>
                    </a:lnTo>
                    <a:lnTo>
                      <a:pt x="192" y="10603"/>
                    </a:lnTo>
                    <a:lnTo>
                      <a:pt x="192" y="10210"/>
                    </a:lnTo>
                    <a:lnTo>
                      <a:pt x="578" y="9425"/>
                    </a:lnTo>
                    <a:lnTo>
                      <a:pt x="771" y="8639"/>
                    </a:lnTo>
                    <a:lnTo>
                      <a:pt x="1735" y="8639"/>
                    </a:lnTo>
                    <a:lnTo>
                      <a:pt x="1928" y="9032"/>
                    </a:lnTo>
                    <a:lnTo>
                      <a:pt x="2507" y="9032"/>
                    </a:lnTo>
                    <a:lnTo>
                      <a:pt x="2892" y="8639"/>
                    </a:lnTo>
                    <a:lnTo>
                      <a:pt x="3085" y="8247"/>
                    </a:lnTo>
                    <a:lnTo>
                      <a:pt x="3471" y="7854"/>
                    </a:lnTo>
                    <a:lnTo>
                      <a:pt x="4821" y="7854"/>
                    </a:lnTo>
                    <a:lnTo>
                      <a:pt x="4435" y="7461"/>
                    </a:lnTo>
                    <a:lnTo>
                      <a:pt x="4049" y="7461"/>
                    </a:lnTo>
                    <a:lnTo>
                      <a:pt x="3664" y="6676"/>
                    </a:lnTo>
                    <a:lnTo>
                      <a:pt x="3664" y="5498"/>
                    </a:lnTo>
                    <a:lnTo>
                      <a:pt x="4049" y="3927"/>
                    </a:lnTo>
                    <a:lnTo>
                      <a:pt x="4628" y="3141"/>
                    </a:lnTo>
                    <a:lnTo>
                      <a:pt x="6364" y="3141"/>
                    </a:lnTo>
                    <a:lnTo>
                      <a:pt x="6942" y="2749"/>
                    </a:lnTo>
                    <a:lnTo>
                      <a:pt x="7328" y="1963"/>
                    </a:lnTo>
                    <a:lnTo>
                      <a:pt x="7907" y="1570"/>
                    </a:lnTo>
                    <a:lnTo>
                      <a:pt x="8292" y="785"/>
                    </a:lnTo>
                    <a:lnTo>
                      <a:pt x="8485" y="785"/>
                    </a:lnTo>
                    <a:lnTo>
                      <a:pt x="8485" y="392"/>
                    </a:lnTo>
                    <a:lnTo>
                      <a:pt x="8678" y="0"/>
                    </a:lnTo>
                    <a:lnTo>
                      <a:pt x="9450" y="0"/>
                    </a:lnTo>
                    <a:lnTo>
                      <a:pt x="10028" y="392"/>
                    </a:lnTo>
                    <a:lnTo>
                      <a:pt x="10800" y="785"/>
                    </a:lnTo>
                    <a:lnTo>
                      <a:pt x="10992" y="1178"/>
                    </a:lnTo>
                    <a:lnTo>
                      <a:pt x="11378" y="1570"/>
                    </a:lnTo>
                    <a:lnTo>
                      <a:pt x="11764" y="2356"/>
                    </a:lnTo>
                    <a:lnTo>
                      <a:pt x="12342" y="3141"/>
                    </a:lnTo>
                    <a:lnTo>
                      <a:pt x="12342" y="2749"/>
                    </a:lnTo>
                    <a:lnTo>
                      <a:pt x="13114" y="2749"/>
                    </a:lnTo>
                    <a:lnTo>
                      <a:pt x="13307" y="2356"/>
                    </a:lnTo>
                    <a:lnTo>
                      <a:pt x="14657" y="2356"/>
                    </a:lnTo>
                    <a:lnTo>
                      <a:pt x="15042" y="2749"/>
                    </a:lnTo>
                    <a:lnTo>
                      <a:pt x="15235" y="3141"/>
                    </a:lnTo>
                    <a:lnTo>
                      <a:pt x="15621" y="3534"/>
                    </a:lnTo>
                    <a:lnTo>
                      <a:pt x="16007" y="4319"/>
                    </a:lnTo>
                    <a:lnTo>
                      <a:pt x="16392" y="4712"/>
                    </a:lnTo>
                    <a:lnTo>
                      <a:pt x="17357" y="5105"/>
                    </a:lnTo>
                    <a:lnTo>
                      <a:pt x="17550" y="5498"/>
                    </a:lnTo>
                    <a:lnTo>
                      <a:pt x="17935" y="5498"/>
                    </a:lnTo>
                    <a:lnTo>
                      <a:pt x="18128" y="589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2" name="AutoShape 70"/>
              <p:cNvSpPr>
                <a:spLocks/>
              </p:cNvSpPr>
              <p:nvPr/>
            </p:nvSpPr>
            <p:spPr bwMode="auto">
              <a:xfrm>
                <a:off x="451232" y="999141"/>
                <a:ext cx="125412" cy="9519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7069" y="21600"/>
                    </a:moveTo>
                    <a:lnTo>
                      <a:pt x="4712" y="15839"/>
                    </a:lnTo>
                    <a:lnTo>
                      <a:pt x="6283" y="13920"/>
                    </a:lnTo>
                    <a:lnTo>
                      <a:pt x="6283" y="12960"/>
                    </a:lnTo>
                    <a:lnTo>
                      <a:pt x="5890" y="12000"/>
                    </a:lnTo>
                    <a:lnTo>
                      <a:pt x="5498" y="11520"/>
                    </a:lnTo>
                    <a:lnTo>
                      <a:pt x="4319" y="8639"/>
                    </a:lnTo>
                    <a:lnTo>
                      <a:pt x="4319" y="7200"/>
                    </a:lnTo>
                    <a:lnTo>
                      <a:pt x="3534" y="5760"/>
                    </a:lnTo>
                    <a:lnTo>
                      <a:pt x="3534" y="4800"/>
                    </a:lnTo>
                    <a:lnTo>
                      <a:pt x="2749" y="5280"/>
                    </a:lnTo>
                    <a:lnTo>
                      <a:pt x="785" y="3359"/>
                    </a:lnTo>
                    <a:lnTo>
                      <a:pt x="785" y="1440"/>
                    </a:lnTo>
                    <a:lnTo>
                      <a:pt x="392" y="479"/>
                    </a:lnTo>
                    <a:lnTo>
                      <a:pt x="0" y="0"/>
                    </a:lnTo>
                    <a:lnTo>
                      <a:pt x="1963" y="0"/>
                    </a:lnTo>
                    <a:lnTo>
                      <a:pt x="3534" y="479"/>
                    </a:lnTo>
                    <a:lnTo>
                      <a:pt x="3534" y="959"/>
                    </a:lnTo>
                    <a:lnTo>
                      <a:pt x="4712" y="2399"/>
                    </a:lnTo>
                    <a:lnTo>
                      <a:pt x="5498" y="2880"/>
                    </a:lnTo>
                    <a:lnTo>
                      <a:pt x="6283" y="3839"/>
                    </a:lnTo>
                    <a:lnTo>
                      <a:pt x="7461" y="4319"/>
                    </a:lnTo>
                    <a:lnTo>
                      <a:pt x="8639" y="4319"/>
                    </a:lnTo>
                    <a:lnTo>
                      <a:pt x="9425" y="3839"/>
                    </a:lnTo>
                    <a:lnTo>
                      <a:pt x="11389" y="2880"/>
                    </a:lnTo>
                    <a:lnTo>
                      <a:pt x="13745" y="2880"/>
                    </a:lnTo>
                    <a:lnTo>
                      <a:pt x="16494" y="4319"/>
                    </a:lnTo>
                    <a:lnTo>
                      <a:pt x="19243" y="5280"/>
                    </a:lnTo>
                    <a:lnTo>
                      <a:pt x="19636" y="5760"/>
                    </a:lnTo>
                    <a:lnTo>
                      <a:pt x="20029" y="5760"/>
                    </a:lnTo>
                    <a:lnTo>
                      <a:pt x="20421" y="6240"/>
                    </a:lnTo>
                    <a:lnTo>
                      <a:pt x="21207" y="6719"/>
                    </a:lnTo>
                    <a:lnTo>
                      <a:pt x="21600" y="7200"/>
                    </a:lnTo>
                    <a:lnTo>
                      <a:pt x="21600" y="8160"/>
                    </a:lnTo>
                    <a:lnTo>
                      <a:pt x="21207" y="8639"/>
                    </a:lnTo>
                    <a:lnTo>
                      <a:pt x="21207" y="10080"/>
                    </a:lnTo>
                    <a:lnTo>
                      <a:pt x="20814" y="11039"/>
                    </a:lnTo>
                    <a:lnTo>
                      <a:pt x="20421" y="11520"/>
                    </a:lnTo>
                    <a:lnTo>
                      <a:pt x="20421" y="12480"/>
                    </a:lnTo>
                    <a:lnTo>
                      <a:pt x="19636" y="13439"/>
                    </a:lnTo>
                    <a:lnTo>
                      <a:pt x="19243" y="13439"/>
                    </a:lnTo>
                    <a:lnTo>
                      <a:pt x="19243" y="13920"/>
                    </a:lnTo>
                    <a:lnTo>
                      <a:pt x="18458" y="15839"/>
                    </a:lnTo>
                    <a:lnTo>
                      <a:pt x="18850" y="16320"/>
                    </a:lnTo>
                    <a:lnTo>
                      <a:pt x="18065" y="16320"/>
                    </a:lnTo>
                    <a:lnTo>
                      <a:pt x="17672" y="16800"/>
                    </a:lnTo>
                    <a:lnTo>
                      <a:pt x="16887" y="16800"/>
                    </a:lnTo>
                    <a:lnTo>
                      <a:pt x="16101" y="17280"/>
                    </a:lnTo>
                    <a:lnTo>
                      <a:pt x="15316" y="18240"/>
                    </a:lnTo>
                    <a:lnTo>
                      <a:pt x="14530" y="19679"/>
                    </a:lnTo>
                    <a:lnTo>
                      <a:pt x="14138" y="21120"/>
                    </a:lnTo>
                    <a:lnTo>
                      <a:pt x="10996" y="21120"/>
                    </a:lnTo>
                    <a:lnTo>
                      <a:pt x="10603" y="20640"/>
                    </a:lnTo>
                    <a:lnTo>
                      <a:pt x="7069" y="21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3" name="AutoShape 71"/>
              <p:cNvSpPr>
                <a:spLocks/>
              </p:cNvSpPr>
              <p:nvPr/>
            </p:nvSpPr>
            <p:spPr bwMode="auto">
              <a:xfrm>
                <a:off x="438532" y="1089578"/>
                <a:ext cx="95250" cy="8726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514"/>
                    </a:moveTo>
                    <a:lnTo>
                      <a:pt x="18514" y="1028"/>
                    </a:lnTo>
                    <a:lnTo>
                      <a:pt x="17999" y="1028"/>
                    </a:lnTo>
                    <a:lnTo>
                      <a:pt x="16971" y="0"/>
                    </a:lnTo>
                    <a:lnTo>
                      <a:pt x="12342" y="1028"/>
                    </a:lnTo>
                    <a:lnTo>
                      <a:pt x="5142" y="2057"/>
                    </a:lnTo>
                    <a:lnTo>
                      <a:pt x="5142" y="2571"/>
                    </a:lnTo>
                    <a:lnTo>
                      <a:pt x="4628" y="3085"/>
                    </a:lnTo>
                    <a:lnTo>
                      <a:pt x="4628" y="4114"/>
                    </a:lnTo>
                    <a:lnTo>
                      <a:pt x="4114" y="4628"/>
                    </a:lnTo>
                    <a:lnTo>
                      <a:pt x="2057" y="5657"/>
                    </a:lnTo>
                    <a:lnTo>
                      <a:pt x="1542" y="6685"/>
                    </a:lnTo>
                    <a:lnTo>
                      <a:pt x="514" y="7714"/>
                    </a:lnTo>
                    <a:lnTo>
                      <a:pt x="0" y="9257"/>
                    </a:lnTo>
                    <a:lnTo>
                      <a:pt x="0" y="10285"/>
                    </a:lnTo>
                    <a:lnTo>
                      <a:pt x="1028" y="12342"/>
                    </a:lnTo>
                    <a:lnTo>
                      <a:pt x="2571" y="14399"/>
                    </a:lnTo>
                    <a:lnTo>
                      <a:pt x="6685" y="19542"/>
                    </a:lnTo>
                    <a:lnTo>
                      <a:pt x="7714" y="21600"/>
                    </a:lnTo>
                    <a:lnTo>
                      <a:pt x="10800" y="21600"/>
                    </a:lnTo>
                    <a:lnTo>
                      <a:pt x="11314" y="16971"/>
                    </a:lnTo>
                    <a:lnTo>
                      <a:pt x="11828" y="16971"/>
                    </a:lnTo>
                    <a:lnTo>
                      <a:pt x="12857" y="15942"/>
                    </a:lnTo>
                    <a:lnTo>
                      <a:pt x="13885" y="14399"/>
                    </a:lnTo>
                    <a:lnTo>
                      <a:pt x="15428" y="12342"/>
                    </a:lnTo>
                    <a:lnTo>
                      <a:pt x="14914" y="12342"/>
                    </a:lnTo>
                    <a:lnTo>
                      <a:pt x="14914" y="9771"/>
                    </a:lnTo>
                    <a:lnTo>
                      <a:pt x="15428" y="8228"/>
                    </a:lnTo>
                    <a:lnTo>
                      <a:pt x="16457" y="6685"/>
                    </a:lnTo>
                    <a:lnTo>
                      <a:pt x="16457" y="5657"/>
                    </a:lnTo>
                    <a:lnTo>
                      <a:pt x="17485" y="5142"/>
                    </a:lnTo>
                    <a:lnTo>
                      <a:pt x="17999" y="4628"/>
                    </a:lnTo>
                    <a:lnTo>
                      <a:pt x="19028" y="4114"/>
                    </a:lnTo>
                    <a:lnTo>
                      <a:pt x="20057" y="4114"/>
                    </a:lnTo>
                    <a:lnTo>
                      <a:pt x="21600" y="4628"/>
                    </a:lnTo>
                    <a:lnTo>
                      <a:pt x="21600" y="51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4" name="AutoShape 72"/>
              <p:cNvSpPr>
                <a:spLocks/>
              </p:cNvSpPr>
              <p:nvPr/>
            </p:nvSpPr>
            <p:spPr bwMode="auto">
              <a:xfrm>
                <a:off x="429007" y="1059433"/>
                <a:ext cx="31750" cy="6346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7199"/>
                    </a:moveTo>
                    <a:lnTo>
                      <a:pt x="6171" y="10079"/>
                    </a:lnTo>
                    <a:lnTo>
                      <a:pt x="7714" y="10079"/>
                    </a:lnTo>
                    <a:lnTo>
                      <a:pt x="7714" y="11519"/>
                    </a:lnTo>
                    <a:lnTo>
                      <a:pt x="9257" y="12959"/>
                    </a:lnTo>
                    <a:lnTo>
                      <a:pt x="9257" y="14399"/>
                    </a:lnTo>
                    <a:lnTo>
                      <a:pt x="7714" y="14399"/>
                    </a:lnTo>
                    <a:lnTo>
                      <a:pt x="7714" y="15839"/>
                    </a:lnTo>
                    <a:lnTo>
                      <a:pt x="6171" y="17280"/>
                    </a:lnTo>
                    <a:lnTo>
                      <a:pt x="6171" y="21600"/>
                    </a:lnTo>
                    <a:lnTo>
                      <a:pt x="13885" y="18000"/>
                    </a:lnTo>
                    <a:lnTo>
                      <a:pt x="20057" y="15839"/>
                    </a:lnTo>
                    <a:lnTo>
                      <a:pt x="20057" y="14399"/>
                    </a:lnTo>
                    <a:lnTo>
                      <a:pt x="21599" y="13680"/>
                    </a:lnTo>
                    <a:lnTo>
                      <a:pt x="21599" y="12959"/>
                    </a:lnTo>
                    <a:lnTo>
                      <a:pt x="20057" y="12240"/>
                    </a:lnTo>
                    <a:lnTo>
                      <a:pt x="20057" y="6479"/>
                    </a:lnTo>
                    <a:lnTo>
                      <a:pt x="18514" y="5039"/>
                    </a:lnTo>
                    <a:lnTo>
                      <a:pt x="16971" y="2879"/>
                    </a:lnTo>
                    <a:lnTo>
                      <a:pt x="15428" y="1439"/>
                    </a:lnTo>
                    <a:lnTo>
                      <a:pt x="12342" y="0"/>
                    </a:lnTo>
                    <a:lnTo>
                      <a:pt x="6171" y="0"/>
                    </a:lnTo>
                    <a:lnTo>
                      <a:pt x="4628" y="719"/>
                    </a:lnTo>
                    <a:lnTo>
                      <a:pt x="0" y="71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5" name="AutoShape 73"/>
              <p:cNvSpPr>
                <a:spLocks/>
              </p:cNvSpPr>
              <p:nvPr/>
            </p:nvSpPr>
            <p:spPr bwMode="auto">
              <a:xfrm>
                <a:off x="332169" y="978514"/>
                <a:ext cx="160338" cy="11899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954" y="9852"/>
                    </a:moveTo>
                    <a:lnTo>
                      <a:pt x="3042" y="7957"/>
                    </a:lnTo>
                    <a:lnTo>
                      <a:pt x="3042" y="7578"/>
                    </a:lnTo>
                    <a:lnTo>
                      <a:pt x="2738" y="7199"/>
                    </a:lnTo>
                    <a:lnTo>
                      <a:pt x="3042" y="6821"/>
                    </a:lnTo>
                    <a:lnTo>
                      <a:pt x="2738" y="6442"/>
                    </a:lnTo>
                    <a:lnTo>
                      <a:pt x="2129" y="6442"/>
                    </a:lnTo>
                    <a:lnTo>
                      <a:pt x="304" y="5305"/>
                    </a:lnTo>
                    <a:lnTo>
                      <a:pt x="0" y="4926"/>
                    </a:lnTo>
                    <a:lnTo>
                      <a:pt x="304" y="4547"/>
                    </a:lnTo>
                    <a:lnTo>
                      <a:pt x="1521" y="3789"/>
                    </a:lnTo>
                    <a:lnTo>
                      <a:pt x="3042" y="3031"/>
                    </a:lnTo>
                    <a:lnTo>
                      <a:pt x="4259" y="2652"/>
                    </a:lnTo>
                    <a:lnTo>
                      <a:pt x="4867" y="2273"/>
                    </a:lnTo>
                    <a:lnTo>
                      <a:pt x="8518" y="1894"/>
                    </a:lnTo>
                    <a:lnTo>
                      <a:pt x="8214" y="1136"/>
                    </a:lnTo>
                    <a:lnTo>
                      <a:pt x="8822" y="378"/>
                    </a:lnTo>
                    <a:lnTo>
                      <a:pt x="8822" y="0"/>
                    </a:lnTo>
                    <a:lnTo>
                      <a:pt x="9126" y="0"/>
                    </a:lnTo>
                    <a:lnTo>
                      <a:pt x="9430" y="1894"/>
                    </a:lnTo>
                    <a:lnTo>
                      <a:pt x="10343" y="4547"/>
                    </a:lnTo>
                    <a:lnTo>
                      <a:pt x="13081" y="4547"/>
                    </a:lnTo>
                    <a:lnTo>
                      <a:pt x="13385" y="4168"/>
                    </a:lnTo>
                    <a:lnTo>
                      <a:pt x="13994" y="4168"/>
                    </a:lnTo>
                    <a:lnTo>
                      <a:pt x="14602" y="3789"/>
                    </a:lnTo>
                    <a:lnTo>
                      <a:pt x="15515" y="3410"/>
                    </a:lnTo>
                    <a:lnTo>
                      <a:pt x="16123" y="3410"/>
                    </a:lnTo>
                    <a:lnTo>
                      <a:pt x="16428" y="3789"/>
                    </a:lnTo>
                    <a:lnTo>
                      <a:pt x="16732" y="4547"/>
                    </a:lnTo>
                    <a:lnTo>
                      <a:pt x="16732" y="6442"/>
                    </a:lnTo>
                    <a:lnTo>
                      <a:pt x="18253" y="7957"/>
                    </a:lnTo>
                    <a:lnTo>
                      <a:pt x="18861" y="7578"/>
                    </a:lnTo>
                    <a:lnTo>
                      <a:pt x="18861" y="8336"/>
                    </a:lnTo>
                    <a:lnTo>
                      <a:pt x="19470" y="9473"/>
                    </a:lnTo>
                    <a:lnTo>
                      <a:pt x="19470" y="10610"/>
                    </a:lnTo>
                    <a:lnTo>
                      <a:pt x="20383" y="12884"/>
                    </a:lnTo>
                    <a:lnTo>
                      <a:pt x="20687" y="13263"/>
                    </a:lnTo>
                    <a:lnTo>
                      <a:pt x="20991" y="14021"/>
                    </a:lnTo>
                    <a:lnTo>
                      <a:pt x="20991" y="14778"/>
                    </a:lnTo>
                    <a:lnTo>
                      <a:pt x="19774" y="16294"/>
                    </a:lnTo>
                    <a:lnTo>
                      <a:pt x="21600" y="20842"/>
                    </a:lnTo>
                    <a:lnTo>
                      <a:pt x="17340" y="21600"/>
                    </a:lnTo>
                    <a:lnTo>
                      <a:pt x="17036" y="20842"/>
                    </a:lnTo>
                    <a:lnTo>
                      <a:pt x="17036" y="18568"/>
                    </a:lnTo>
                    <a:lnTo>
                      <a:pt x="16732" y="17431"/>
                    </a:lnTo>
                    <a:lnTo>
                      <a:pt x="16732" y="16673"/>
                    </a:lnTo>
                    <a:lnTo>
                      <a:pt x="16428" y="16294"/>
                    </a:lnTo>
                    <a:lnTo>
                      <a:pt x="16123" y="15536"/>
                    </a:lnTo>
                    <a:lnTo>
                      <a:pt x="15515" y="14778"/>
                    </a:lnTo>
                    <a:lnTo>
                      <a:pt x="14602" y="14778"/>
                    </a:lnTo>
                    <a:lnTo>
                      <a:pt x="14298" y="15157"/>
                    </a:lnTo>
                    <a:lnTo>
                      <a:pt x="13994" y="15157"/>
                    </a:lnTo>
                    <a:lnTo>
                      <a:pt x="13081" y="18568"/>
                    </a:lnTo>
                    <a:lnTo>
                      <a:pt x="9735" y="14400"/>
                    </a:lnTo>
                    <a:lnTo>
                      <a:pt x="8822" y="14400"/>
                    </a:lnTo>
                    <a:lnTo>
                      <a:pt x="8822" y="14021"/>
                    </a:lnTo>
                    <a:lnTo>
                      <a:pt x="8214" y="13642"/>
                    </a:lnTo>
                    <a:lnTo>
                      <a:pt x="7301" y="12505"/>
                    </a:lnTo>
                    <a:lnTo>
                      <a:pt x="6997" y="11368"/>
                    </a:lnTo>
                    <a:lnTo>
                      <a:pt x="6692" y="10610"/>
                    </a:lnTo>
                    <a:lnTo>
                      <a:pt x="5780" y="11368"/>
                    </a:lnTo>
                    <a:lnTo>
                      <a:pt x="3954" y="985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6" name="AutoShape 74"/>
              <p:cNvSpPr>
                <a:spLocks/>
              </p:cNvSpPr>
              <p:nvPr/>
            </p:nvSpPr>
            <p:spPr bwMode="auto">
              <a:xfrm>
                <a:off x="400432" y="942022"/>
                <a:ext cx="85725" cy="6187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1936" y="6703"/>
                    </a:moveTo>
                    <a:lnTo>
                      <a:pt x="10231" y="6703"/>
                    </a:lnTo>
                    <a:lnTo>
                      <a:pt x="9663" y="7448"/>
                    </a:lnTo>
                    <a:lnTo>
                      <a:pt x="8526" y="8193"/>
                    </a:lnTo>
                    <a:lnTo>
                      <a:pt x="7389" y="8193"/>
                    </a:lnTo>
                    <a:lnTo>
                      <a:pt x="5684" y="8937"/>
                    </a:lnTo>
                    <a:lnTo>
                      <a:pt x="3410" y="8193"/>
                    </a:lnTo>
                    <a:lnTo>
                      <a:pt x="1705" y="5958"/>
                    </a:lnTo>
                    <a:lnTo>
                      <a:pt x="1705" y="6703"/>
                    </a:lnTo>
                    <a:lnTo>
                      <a:pt x="1136" y="6703"/>
                    </a:lnTo>
                    <a:lnTo>
                      <a:pt x="568" y="7448"/>
                    </a:lnTo>
                    <a:lnTo>
                      <a:pt x="0" y="8937"/>
                    </a:lnTo>
                    <a:lnTo>
                      <a:pt x="0" y="14151"/>
                    </a:lnTo>
                    <a:lnTo>
                      <a:pt x="568" y="15641"/>
                    </a:lnTo>
                    <a:lnTo>
                      <a:pt x="1136" y="17875"/>
                    </a:lnTo>
                    <a:lnTo>
                      <a:pt x="1136" y="19365"/>
                    </a:lnTo>
                    <a:lnTo>
                      <a:pt x="1705" y="20855"/>
                    </a:lnTo>
                    <a:lnTo>
                      <a:pt x="2273" y="21600"/>
                    </a:lnTo>
                    <a:lnTo>
                      <a:pt x="7957" y="21600"/>
                    </a:lnTo>
                    <a:lnTo>
                      <a:pt x="10231" y="20110"/>
                    </a:lnTo>
                    <a:lnTo>
                      <a:pt x="10800" y="20110"/>
                    </a:lnTo>
                    <a:lnTo>
                      <a:pt x="13073" y="19365"/>
                    </a:lnTo>
                    <a:lnTo>
                      <a:pt x="13642" y="20110"/>
                    </a:lnTo>
                    <a:lnTo>
                      <a:pt x="15915" y="20110"/>
                    </a:lnTo>
                    <a:lnTo>
                      <a:pt x="15915" y="19365"/>
                    </a:lnTo>
                    <a:lnTo>
                      <a:pt x="17052" y="19365"/>
                    </a:lnTo>
                    <a:lnTo>
                      <a:pt x="17621" y="17875"/>
                    </a:lnTo>
                    <a:lnTo>
                      <a:pt x="18757" y="17131"/>
                    </a:lnTo>
                    <a:lnTo>
                      <a:pt x="19326" y="15641"/>
                    </a:lnTo>
                    <a:lnTo>
                      <a:pt x="20463" y="11172"/>
                    </a:lnTo>
                    <a:lnTo>
                      <a:pt x="20463" y="7448"/>
                    </a:lnTo>
                    <a:lnTo>
                      <a:pt x="21031" y="5958"/>
                    </a:lnTo>
                    <a:lnTo>
                      <a:pt x="21031" y="4468"/>
                    </a:lnTo>
                    <a:lnTo>
                      <a:pt x="21599" y="3724"/>
                    </a:lnTo>
                    <a:lnTo>
                      <a:pt x="19894" y="0"/>
                    </a:lnTo>
                    <a:lnTo>
                      <a:pt x="19326" y="744"/>
                    </a:lnTo>
                    <a:lnTo>
                      <a:pt x="15915" y="744"/>
                    </a:lnTo>
                    <a:lnTo>
                      <a:pt x="15347" y="1489"/>
                    </a:lnTo>
                    <a:lnTo>
                      <a:pt x="14778" y="1489"/>
                    </a:lnTo>
                    <a:lnTo>
                      <a:pt x="13073" y="2979"/>
                    </a:lnTo>
                    <a:lnTo>
                      <a:pt x="13073" y="5213"/>
                    </a:lnTo>
                    <a:lnTo>
                      <a:pt x="12505" y="5958"/>
                    </a:lnTo>
                    <a:lnTo>
                      <a:pt x="12505" y="6703"/>
                    </a:lnTo>
                    <a:lnTo>
                      <a:pt x="11936" y="6703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7" name="AutoShape 75"/>
              <p:cNvSpPr>
                <a:spLocks/>
              </p:cNvSpPr>
              <p:nvPr/>
            </p:nvSpPr>
            <p:spPr bwMode="auto">
              <a:xfrm>
                <a:off x="335344" y="899183"/>
                <a:ext cx="155575" cy="6822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7854"/>
                    </a:moveTo>
                    <a:lnTo>
                      <a:pt x="20973" y="7200"/>
                    </a:lnTo>
                    <a:lnTo>
                      <a:pt x="20034" y="5236"/>
                    </a:lnTo>
                    <a:lnTo>
                      <a:pt x="19721" y="5236"/>
                    </a:lnTo>
                    <a:lnTo>
                      <a:pt x="19095" y="3927"/>
                    </a:lnTo>
                    <a:lnTo>
                      <a:pt x="18469" y="3927"/>
                    </a:lnTo>
                    <a:lnTo>
                      <a:pt x="17843" y="4581"/>
                    </a:lnTo>
                    <a:lnTo>
                      <a:pt x="17217" y="4581"/>
                    </a:lnTo>
                    <a:lnTo>
                      <a:pt x="16591" y="5890"/>
                    </a:lnTo>
                    <a:lnTo>
                      <a:pt x="16278" y="5890"/>
                    </a:lnTo>
                    <a:lnTo>
                      <a:pt x="16278" y="7854"/>
                    </a:lnTo>
                    <a:lnTo>
                      <a:pt x="15965" y="7854"/>
                    </a:lnTo>
                    <a:lnTo>
                      <a:pt x="15652" y="7200"/>
                    </a:lnTo>
                    <a:lnTo>
                      <a:pt x="15026" y="7200"/>
                    </a:lnTo>
                    <a:lnTo>
                      <a:pt x="14713" y="7854"/>
                    </a:lnTo>
                    <a:lnTo>
                      <a:pt x="14086" y="7854"/>
                    </a:lnTo>
                    <a:lnTo>
                      <a:pt x="13147" y="8509"/>
                    </a:lnTo>
                    <a:lnTo>
                      <a:pt x="13147" y="7200"/>
                    </a:lnTo>
                    <a:lnTo>
                      <a:pt x="12521" y="7200"/>
                    </a:lnTo>
                    <a:lnTo>
                      <a:pt x="11895" y="6545"/>
                    </a:lnTo>
                    <a:lnTo>
                      <a:pt x="10643" y="4581"/>
                    </a:lnTo>
                    <a:lnTo>
                      <a:pt x="9391" y="4581"/>
                    </a:lnTo>
                    <a:lnTo>
                      <a:pt x="9078" y="2618"/>
                    </a:lnTo>
                    <a:lnTo>
                      <a:pt x="7200" y="2618"/>
                    </a:lnTo>
                    <a:lnTo>
                      <a:pt x="6573" y="1309"/>
                    </a:lnTo>
                    <a:lnTo>
                      <a:pt x="5634" y="1309"/>
                    </a:lnTo>
                    <a:lnTo>
                      <a:pt x="5321" y="0"/>
                    </a:lnTo>
                    <a:lnTo>
                      <a:pt x="4695" y="0"/>
                    </a:lnTo>
                    <a:lnTo>
                      <a:pt x="4695" y="654"/>
                    </a:lnTo>
                    <a:lnTo>
                      <a:pt x="4382" y="654"/>
                    </a:lnTo>
                    <a:lnTo>
                      <a:pt x="4382" y="1963"/>
                    </a:lnTo>
                    <a:lnTo>
                      <a:pt x="3756" y="1963"/>
                    </a:lnTo>
                    <a:lnTo>
                      <a:pt x="3756" y="1309"/>
                    </a:lnTo>
                    <a:lnTo>
                      <a:pt x="3443" y="1309"/>
                    </a:lnTo>
                    <a:lnTo>
                      <a:pt x="3443" y="654"/>
                    </a:lnTo>
                    <a:lnTo>
                      <a:pt x="3130" y="0"/>
                    </a:lnTo>
                    <a:lnTo>
                      <a:pt x="2817" y="0"/>
                    </a:lnTo>
                    <a:lnTo>
                      <a:pt x="3130" y="1309"/>
                    </a:lnTo>
                    <a:lnTo>
                      <a:pt x="2504" y="1309"/>
                    </a:lnTo>
                    <a:lnTo>
                      <a:pt x="2191" y="1963"/>
                    </a:lnTo>
                    <a:lnTo>
                      <a:pt x="939" y="1963"/>
                    </a:lnTo>
                    <a:lnTo>
                      <a:pt x="939" y="2618"/>
                    </a:lnTo>
                    <a:lnTo>
                      <a:pt x="0" y="2618"/>
                    </a:lnTo>
                    <a:lnTo>
                      <a:pt x="0" y="5890"/>
                    </a:lnTo>
                    <a:lnTo>
                      <a:pt x="1252" y="6545"/>
                    </a:lnTo>
                    <a:lnTo>
                      <a:pt x="1878" y="8509"/>
                    </a:lnTo>
                    <a:lnTo>
                      <a:pt x="2504" y="13745"/>
                    </a:lnTo>
                    <a:lnTo>
                      <a:pt x="2817" y="13745"/>
                    </a:lnTo>
                    <a:lnTo>
                      <a:pt x="2817" y="15054"/>
                    </a:lnTo>
                    <a:lnTo>
                      <a:pt x="3756" y="15054"/>
                    </a:lnTo>
                    <a:lnTo>
                      <a:pt x="4069" y="15709"/>
                    </a:lnTo>
                    <a:lnTo>
                      <a:pt x="4695" y="15054"/>
                    </a:lnTo>
                    <a:lnTo>
                      <a:pt x="5008" y="15054"/>
                    </a:lnTo>
                    <a:lnTo>
                      <a:pt x="5321" y="13745"/>
                    </a:lnTo>
                    <a:lnTo>
                      <a:pt x="6573" y="13745"/>
                    </a:lnTo>
                    <a:lnTo>
                      <a:pt x="6573" y="15709"/>
                    </a:lnTo>
                    <a:lnTo>
                      <a:pt x="6886" y="15709"/>
                    </a:lnTo>
                    <a:lnTo>
                      <a:pt x="7200" y="16363"/>
                    </a:lnTo>
                    <a:lnTo>
                      <a:pt x="9078" y="16363"/>
                    </a:lnTo>
                    <a:lnTo>
                      <a:pt x="9391" y="17018"/>
                    </a:lnTo>
                    <a:lnTo>
                      <a:pt x="9391" y="17672"/>
                    </a:lnTo>
                    <a:lnTo>
                      <a:pt x="9704" y="18981"/>
                    </a:lnTo>
                    <a:lnTo>
                      <a:pt x="10330" y="19636"/>
                    </a:lnTo>
                    <a:lnTo>
                      <a:pt x="10643" y="20945"/>
                    </a:lnTo>
                    <a:lnTo>
                      <a:pt x="11269" y="20945"/>
                    </a:lnTo>
                    <a:lnTo>
                      <a:pt x="11582" y="21600"/>
                    </a:lnTo>
                    <a:lnTo>
                      <a:pt x="12834" y="21600"/>
                    </a:lnTo>
                    <a:lnTo>
                      <a:pt x="14713" y="19636"/>
                    </a:lnTo>
                    <a:lnTo>
                      <a:pt x="15965" y="19636"/>
                    </a:lnTo>
                    <a:lnTo>
                      <a:pt x="15965" y="18981"/>
                    </a:lnTo>
                    <a:lnTo>
                      <a:pt x="16278" y="18327"/>
                    </a:lnTo>
                    <a:lnTo>
                      <a:pt x="16278" y="16363"/>
                    </a:lnTo>
                    <a:lnTo>
                      <a:pt x="16591" y="16363"/>
                    </a:lnTo>
                    <a:lnTo>
                      <a:pt x="17530" y="14400"/>
                    </a:lnTo>
                    <a:lnTo>
                      <a:pt x="17843" y="14400"/>
                    </a:lnTo>
                    <a:lnTo>
                      <a:pt x="18469" y="15054"/>
                    </a:lnTo>
                    <a:lnTo>
                      <a:pt x="19095" y="14400"/>
                    </a:lnTo>
                    <a:lnTo>
                      <a:pt x="19721" y="14400"/>
                    </a:lnTo>
                    <a:lnTo>
                      <a:pt x="20660" y="12436"/>
                    </a:lnTo>
                    <a:lnTo>
                      <a:pt x="21599" y="12436"/>
                    </a:lnTo>
                    <a:lnTo>
                      <a:pt x="21286" y="11781"/>
                    </a:lnTo>
                    <a:lnTo>
                      <a:pt x="21286" y="9818"/>
                    </a:lnTo>
                    <a:lnTo>
                      <a:pt x="21599" y="8509"/>
                    </a:lnTo>
                    <a:lnTo>
                      <a:pt x="21599" y="785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8" name="AutoShape 76"/>
              <p:cNvSpPr>
                <a:spLocks/>
              </p:cNvSpPr>
              <p:nvPr/>
            </p:nvSpPr>
            <p:spPr bwMode="auto">
              <a:xfrm>
                <a:off x="352807" y="797639"/>
                <a:ext cx="171450" cy="12851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2789" y="708"/>
                    </a:moveTo>
                    <a:lnTo>
                      <a:pt x="11936" y="0"/>
                    </a:lnTo>
                    <a:lnTo>
                      <a:pt x="11936" y="354"/>
                    </a:lnTo>
                    <a:lnTo>
                      <a:pt x="11652" y="708"/>
                    </a:lnTo>
                    <a:lnTo>
                      <a:pt x="11652" y="1416"/>
                    </a:lnTo>
                    <a:lnTo>
                      <a:pt x="11084" y="2124"/>
                    </a:lnTo>
                    <a:lnTo>
                      <a:pt x="8526" y="3186"/>
                    </a:lnTo>
                    <a:lnTo>
                      <a:pt x="7389" y="3186"/>
                    </a:lnTo>
                    <a:lnTo>
                      <a:pt x="7389" y="2832"/>
                    </a:lnTo>
                    <a:lnTo>
                      <a:pt x="5968" y="2832"/>
                    </a:lnTo>
                    <a:lnTo>
                      <a:pt x="5115" y="3895"/>
                    </a:lnTo>
                    <a:lnTo>
                      <a:pt x="4547" y="4249"/>
                    </a:lnTo>
                    <a:lnTo>
                      <a:pt x="4263" y="4603"/>
                    </a:lnTo>
                    <a:lnTo>
                      <a:pt x="4263" y="4957"/>
                    </a:lnTo>
                    <a:lnTo>
                      <a:pt x="568" y="5665"/>
                    </a:lnTo>
                    <a:lnTo>
                      <a:pt x="568" y="9560"/>
                    </a:lnTo>
                    <a:lnTo>
                      <a:pt x="0" y="9560"/>
                    </a:lnTo>
                    <a:lnTo>
                      <a:pt x="0" y="9914"/>
                    </a:lnTo>
                    <a:lnTo>
                      <a:pt x="284" y="9914"/>
                    </a:lnTo>
                    <a:lnTo>
                      <a:pt x="568" y="10622"/>
                    </a:lnTo>
                    <a:lnTo>
                      <a:pt x="852" y="10977"/>
                    </a:lnTo>
                    <a:lnTo>
                      <a:pt x="1136" y="10977"/>
                    </a:lnTo>
                    <a:lnTo>
                      <a:pt x="1136" y="11331"/>
                    </a:lnTo>
                    <a:lnTo>
                      <a:pt x="1705" y="12039"/>
                    </a:lnTo>
                    <a:lnTo>
                      <a:pt x="1705" y="12393"/>
                    </a:lnTo>
                    <a:lnTo>
                      <a:pt x="852" y="13455"/>
                    </a:lnTo>
                    <a:lnTo>
                      <a:pt x="852" y="13809"/>
                    </a:lnTo>
                    <a:lnTo>
                      <a:pt x="1136" y="14163"/>
                    </a:lnTo>
                    <a:lnTo>
                      <a:pt x="1136" y="14872"/>
                    </a:lnTo>
                    <a:lnTo>
                      <a:pt x="852" y="15226"/>
                    </a:lnTo>
                    <a:lnTo>
                      <a:pt x="852" y="15580"/>
                    </a:lnTo>
                    <a:lnTo>
                      <a:pt x="1136" y="15934"/>
                    </a:lnTo>
                    <a:lnTo>
                      <a:pt x="852" y="15934"/>
                    </a:lnTo>
                    <a:lnTo>
                      <a:pt x="852" y="16288"/>
                    </a:lnTo>
                    <a:lnTo>
                      <a:pt x="1136" y="16642"/>
                    </a:lnTo>
                    <a:lnTo>
                      <a:pt x="1136" y="17350"/>
                    </a:lnTo>
                    <a:lnTo>
                      <a:pt x="852" y="17704"/>
                    </a:lnTo>
                    <a:lnTo>
                      <a:pt x="1136" y="17704"/>
                    </a:lnTo>
                    <a:lnTo>
                      <a:pt x="1136" y="18059"/>
                    </a:lnTo>
                    <a:lnTo>
                      <a:pt x="1705" y="18059"/>
                    </a:lnTo>
                    <a:lnTo>
                      <a:pt x="1705" y="17350"/>
                    </a:lnTo>
                    <a:lnTo>
                      <a:pt x="1989" y="17350"/>
                    </a:lnTo>
                    <a:lnTo>
                      <a:pt x="1989" y="16996"/>
                    </a:lnTo>
                    <a:lnTo>
                      <a:pt x="2557" y="16996"/>
                    </a:lnTo>
                    <a:lnTo>
                      <a:pt x="2842" y="17704"/>
                    </a:lnTo>
                    <a:lnTo>
                      <a:pt x="3694" y="17704"/>
                    </a:lnTo>
                    <a:lnTo>
                      <a:pt x="4263" y="18413"/>
                    </a:lnTo>
                    <a:lnTo>
                      <a:pt x="5968" y="18413"/>
                    </a:lnTo>
                    <a:lnTo>
                      <a:pt x="6252" y="19475"/>
                    </a:lnTo>
                    <a:lnTo>
                      <a:pt x="7389" y="19475"/>
                    </a:lnTo>
                    <a:lnTo>
                      <a:pt x="8526" y="20537"/>
                    </a:lnTo>
                    <a:lnTo>
                      <a:pt x="9094" y="20891"/>
                    </a:lnTo>
                    <a:lnTo>
                      <a:pt x="9663" y="20891"/>
                    </a:lnTo>
                    <a:lnTo>
                      <a:pt x="9663" y="21599"/>
                    </a:lnTo>
                    <a:lnTo>
                      <a:pt x="10515" y="21245"/>
                    </a:lnTo>
                    <a:lnTo>
                      <a:pt x="11084" y="21245"/>
                    </a:lnTo>
                    <a:lnTo>
                      <a:pt x="11368" y="20891"/>
                    </a:lnTo>
                    <a:lnTo>
                      <a:pt x="11936" y="20891"/>
                    </a:lnTo>
                    <a:lnTo>
                      <a:pt x="12221" y="21245"/>
                    </a:lnTo>
                    <a:lnTo>
                      <a:pt x="12505" y="21245"/>
                    </a:lnTo>
                    <a:lnTo>
                      <a:pt x="12505" y="20183"/>
                    </a:lnTo>
                    <a:lnTo>
                      <a:pt x="12789" y="20183"/>
                    </a:lnTo>
                    <a:lnTo>
                      <a:pt x="13357" y="19475"/>
                    </a:lnTo>
                    <a:lnTo>
                      <a:pt x="13926" y="19475"/>
                    </a:lnTo>
                    <a:lnTo>
                      <a:pt x="14494" y="19121"/>
                    </a:lnTo>
                    <a:lnTo>
                      <a:pt x="15063" y="19121"/>
                    </a:lnTo>
                    <a:lnTo>
                      <a:pt x="15631" y="19829"/>
                    </a:lnTo>
                    <a:lnTo>
                      <a:pt x="15915" y="19829"/>
                    </a:lnTo>
                    <a:lnTo>
                      <a:pt x="16768" y="20891"/>
                    </a:lnTo>
                    <a:lnTo>
                      <a:pt x="17336" y="21245"/>
                    </a:lnTo>
                    <a:lnTo>
                      <a:pt x="18189" y="21245"/>
                    </a:lnTo>
                    <a:lnTo>
                      <a:pt x="18189" y="20891"/>
                    </a:lnTo>
                    <a:lnTo>
                      <a:pt x="21315" y="18413"/>
                    </a:lnTo>
                    <a:lnTo>
                      <a:pt x="21599" y="18059"/>
                    </a:lnTo>
                    <a:lnTo>
                      <a:pt x="21599" y="17704"/>
                    </a:lnTo>
                    <a:lnTo>
                      <a:pt x="21315" y="17350"/>
                    </a:lnTo>
                    <a:lnTo>
                      <a:pt x="20747" y="15226"/>
                    </a:lnTo>
                    <a:lnTo>
                      <a:pt x="20747" y="14872"/>
                    </a:lnTo>
                    <a:lnTo>
                      <a:pt x="20463" y="14518"/>
                    </a:lnTo>
                    <a:lnTo>
                      <a:pt x="20178" y="13809"/>
                    </a:lnTo>
                    <a:lnTo>
                      <a:pt x="19894" y="12747"/>
                    </a:lnTo>
                    <a:lnTo>
                      <a:pt x="18757" y="11331"/>
                    </a:lnTo>
                    <a:lnTo>
                      <a:pt x="18473" y="10622"/>
                    </a:lnTo>
                    <a:lnTo>
                      <a:pt x="17905" y="10268"/>
                    </a:lnTo>
                    <a:lnTo>
                      <a:pt x="18189" y="10268"/>
                    </a:lnTo>
                    <a:lnTo>
                      <a:pt x="18757" y="9560"/>
                    </a:lnTo>
                    <a:lnTo>
                      <a:pt x="19326" y="8144"/>
                    </a:lnTo>
                    <a:lnTo>
                      <a:pt x="19042" y="7081"/>
                    </a:lnTo>
                    <a:lnTo>
                      <a:pt x="18189" y="4957"/>
                    </a:lnTo>
                    <a:lnTo>
                      <a:pt x="17905" y="3895"/>
                    </a:lnTo>
                    <a:lnTo>
                      <a:pt x="17621" y="3186"/>
                    </a:lnTo>
                    <a:lnTo>
                      <a:pt x="17052" y="2478"/>
                    </a:lnTo>
                    <a:lnTo>
                      <a:pt x="16484" y="2124"/>
                    </a:lnTo>
                    <a:lnTo>
                      <a:pt x="15915" y="1416"/>
                    </a:lnTo>
                    <a:lnTo>
                      <a:pt x="15915" y="1062"/>
                    </a:lnTo>
                    <a:lnTo>
                      <a:pt x="15631" y="1062"/>
                    </a:lnTo>
                    <a:lnTo>
                      <a:pt x="15347" y="1416"/>
                    </a:lnTo>
                    <a:lnTo>
                      <a:pt x="13357" y="1416"/>
                    </a:lnTo>
                    <a:lnTo>
                      <a:pt x="12789" y="708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59" name="AutoShape 77"/>
              <p:cNvSpPr>
                <a:spLocks/>
              </p:cNvSpPr>
              <p:nvPr/>
            </p:nvSpPr>
            <p:spPr bwMode="auto">
              <a:xfrm>
                <a:off x="463932" y="942022"/>
                <a:ext cx="114300" cy="8885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235" y="1542"/>
                    </a:moveTo>
                    <a:lnTo>
                      <a:pt x="4658" y="1028"/>
                    </a:lnTo>
                    <a:lnTo>
                      <a:pt x="5505" y="514"/>
                    </a:lnTo>
                    <a:lnTo>
                      <a:pt x="8894" y="514"/>
                    </a:lnTo>
                    <a:lnTo>
                      <a:pt x="10164" y="1028"/>
                    </a:lnTo>
                    <a:lnTo>
                      <a:pt x="10588" y="1028"/>
                    </a:lnTo>
                    <a:lnTo>
                      <a:pt x="11011" y="1542"/>
                    </a:lnTo>
                    <a:lnTo>
                      <a:pt x="13976" y="1542"/>
                    </a:lnTo>
                    <a:lnTo>
                      <a:pt x="14400" y="1028"/>
                    </a:lnTo>
                    <a:lnTo>
                      <a:pt x="14823" y="1028"/>
                    </a:lnTo>
                    <a:lnTo>
                      <a:pt x="15247" y="0"/>
                    </a:lnTo>
                    <a:lnTo>
                      <a:pt x="17788" y="1542"/>
                    </a:lnTo>
                    <a:lnTo>
                      <a:pt x="19482" y="3599"/>
                    </a:lnTo>
                    <a:lnTo>
                      <a:pt x="19482" y="4114"/>
                    </a:lnTo>
                    <a:lnTo>
                      <a:pt x="20329" y="6171"/>
                    </a:lnTo>
                    <a:lnTo>
                      <a:pt x="20329" y="7714"/>
                    </a:lnTo>
                    <a:lnTo>
                      <a:pt x="20752" y="8742"/>
                    </a:lnTo>
                    <a:lnTo>
                      <a:pt x="20752" y="10285"/>
                    </a:lnTo>
                    <a:lnTo>
                      <a:pt x="20329" y="12342"/>
                    </a:lnTo>
                    <a:lnTo>
                      <a:pt x="20329" y="14914"/>
                    </a:lnTo>
                    <a:lnTo>
                      <a:pt x="21600" y="16457"/>
                    </a:lnTo>
                    <a:lnTo>
                      <a:pt x="21176" y="16971"/>
                    </a:lnTo>
                    <a:lnTo>
                      <a:pt x="21176" y="21600"/>
                    </a:lnTo>
                    <a:lnTo>
                      <a:pt x="20752" y="21085"/>
                    </a:lnTo>
                    <a:lnTo>
                      <a:pt x="19905" y="20571"/>
                    </a:lnTo>
                    <a:lnTo>
                      <a:pt x="19482" y="20057"/>
                    </a:lnTo>
                    <a:lnTo>
                      <a:pt x="18635" y="19542"/>
                    </a:lnTo>
                    <a:lnTo>
                      <a:pt x="17788" y="19542"/>
                    </a:lnTo>
                    <a:lnTo>
                      <a:pt x="15670" y="18514"/>
                    </a:lnTo>
                    <a:lnTo>
                      <a:pt x="15670" y="17999"/>
                    </a:lnTo>
                    <a:lnTo>
                      <a:pt x="15247" y="17999"/>
                    </a:lnTo>
                    <a:lnTo>
                      <a:pt x="13552" y="16971"/>
                    </a:lnTo>
                    <a:lnTo>
                      <a:pt x="10164" y="16971"/>
                    </a:lnTo>
                    <a:lnTo>
                      <a:pt x="8894" y="17485"/>
                    </a:lnTo>
                    <a:lnTo>
                      <a:pt x="7199" y="18514"/>
                    </a:lnTo>
                    <a:lnTo>
                      <a:pt x="5505" y="18514"/>
                    </a:lnTo>
                    <a:lnTo>
                      <a:pt x="4658" y="17485"/>
                    </a:lnTo>
                    <a:lnTo>
                      <a:pt x="3388" y="16457"/>
                    </a:lnTo>
                    <a:lnTo>
                      <a:pt x="1694" y="14914"/>
                    </a:lnTo>
                    <a:lnTo>
                      <a:pt x="0" y="13885"/>
                    </a:lnTo>
                    <a:lnTo>
                      <a:pt x="423" y="13885"/>
                    </a:lnTo>
                    <a:lnTo>
                      <a:pt x="1694" y="12342"/>
                    </a:lnTo>
                    <a:lnTo>
                      <a:pt x="2117" y="11314"/>
                    </a:lnTo>
                    <a:lnTo>
                      <a:pt x="2964" y="10285"/>
                    </a:lnTo>
                    <a:lnTo>
                      <a:pt x="3388" y="9257"/>
                    </a:lnTo>
                    <a:lnTo>
                      <a:pt x="3388" y="6685"/>
                    </a:lnTo>
                    <a:lnTo>
                      <a:pt x="3811" y="5142"/>
                    </a:lnTo>
                    <a:lnTo>
                      <a:pt x="3811" y="3085"/>
                    </a:lnTo>
                    <a:lnTo>
                      <a:pt x="4235" y="2571"/>
                    </a:lnTo>
                    <a:lnTo>
                      <a:pt x="4235" y="154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0" name="AutoShape 78"/>
              <p:cNvSpPr>
                <a:spLocks/>
              </p:cNvSpPr>
              <p:nvPr/>
            </p:nvSpPr>
            <p:spPr bwMode="auto">
              <a:xfrm>
                <a:off x="532194" y="1070539"/>
                <a:ext cx="46038" cy="4601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371" y="0"/>
                    </a:moveTo>
                    <a:lnTo>
                      <a:pt x="13371" y="1963"/>
                    </a:lnTo>
                    <a:lnTo>
                      <a:pt x="18514" y="6872"/>
                    </a:lnTo>
                    <a:lnTo>
                      <a:pt x="21599" y="10800"/>
                    </a:lnTo>
                    <a:lnTo>
                      <a:pt x="20571" y="10800"/>
                    </a:lnTo>
                    <a:lnTo>
                      <a:pt x="20571" y="11781"/>
                    </a:lnTo>
                    <a:lnTo>
                      <a:pt x="19542" y="13745"/>
                    </a:lnTo>
                    <a:lnTo>
                      <a:pt x="18514" y="14727"/>
                    </a:lnTo>
                    <a:lnTo>
                      <a:pt x="15428" y="14727"/>
                    </a:lnTo>
                    <a:lnTo>
                      <a:pt x="14400" y="15709"/>
                    </a:lnTo>
                    <a:lnTo>
                      <a:pt x="11314" y="15709"/>
                    </a:lnTo>
                    <a:lnTo>
                      <a:pt x="6171" y="20618"/>
                    </a:lnTo>
                    <a:lnTo>
                      <a:pt x="5142" y="20618"/>
                    </a:lnTo>
                    <a:lnTo>
                      <a:pt x="4114" y="21600"/>
                    </a:lnTo>
                    <a:lnTo>
                      <a:pt x="0" y="21600"/>
                    </a:lnTo>
                    <a:lnTo>
                      <a:pt x="1028" y="17672"/>
                    </a:lnTo>
                    <a:lnTo>
                      <a:pt x="1028" y="9818"/>
                    </a:lnTo>
                    <a:lnTo>
                      <a:pt x="2057" y="7854"/>
                    </a:lnTo>
                    <a:lnTo>
                      <a:pt x="2057" y="5890"/>
                    </a:lnTo>
                    <a:lnTo>
                      <a:pt x="6171" y="1963"/>
                    </a:lnTo>
                    <a:lnTo>
                      <a:pt x="7200" y="1963"/>
                    </a:lnTo>
                    <a:lnTo>
                      <a:pt x="8228" y="981"/>
                    </a:lnTo>
                    <a:lnTo>
                      <a:pt x="10285" y="0"/>
                    </a:lnTo>
                    <a:lnTo>
                      <a:pt x="13371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1" name="AutoShape 79"/>
              <p:cNvSpPr>
                <a:spLocks/>
              </p:cNvSpPr>
              <p:nvPr/>
            </p:nvSpPr>
            <p:spPr bwMode="auto">
              <a:xfrm>
                <a:off x="454407" y="-435"/>
                <a:ext cx="2413002" cy="1150305"/>
              </a:xfrm>
              <a:custGeom>
                <a:avLst/>
                <a:gdLst>
                  <a:gd name="T0" fmla="*/ 10800 w 21600"/>
                  <a:gd name="T1" fmla="+- 0 10805 11"/>
                  <a:gd name="T2" fmla="*/ 10805 h 21589"/>
                  <a:gd name="T3" fmla="*/ 10800 w 21600"/>
                  <a:gd name="T4" fmla="+- 0 10805 11"/>
                  <a:gd name="T5" fmla="*/ 10805 h 21589"/>
                  <a:gd name="T6" fmla="*/ 10800 w 21600"/>
                  <a:gd name="T7" fmla="+- 0 10805 11"/>
                  <a:gd name="T8" fmla="*/ 10805 h 21589"/>
                  <a:gd name="T9" fmla="*/ 10800 w 21600"/>
                  <a:gd name="T10" fmla="+- 0 10805 11"/>
                  <a:gd name="T11" fmla="*/ 10805 h 21589"/>
                </a:gdLst>
                <a:ahLst/>
                <a:cxnLst>
                  <a:cxn ang="0">
                    <a:pos x="T0" y="T2"/>
                  </a:cxn>
                  <a:cxn ang="0">
                    <a:pos x="T3" y="T5"/>
                  </a:cxn>
                  <a:cxn ang="0">
                    <a:pos x="T6" y="T8"/>
                  </a:cxn>
                  <a:cxn ang="0">
                    <a:pos x="T9" y="T11"/>
                  </a:cxn>
                </a:cxnLst>
                <a:rect l="0" t="0" r="r" b="b"/>
                <a:pathLst>
                  <a:path w="21600" h="21589">
                    <a:moveTo>
                      <a:pt x="8737" y="17643"/>
                    </a:moveTo>
                    <a:lnTo>
                      <a:pt x="8854" y="17643"/>
                    </a:lnTo>
                    <a:lnTo>
                      <a:pt x="8947" y="17461"/>
                    </a:lnTo>
                    <a:lnTo>
                      <a:pt x="9180" y="17597"/>
                    </a:lnTo>
                    <a:lnTo>
                      <a:pt x="9320" y="17507"/>
                    </a:lnTo>
                    <a:lnTo>
                      <a:pt x="9576" y="17960"/>
                    </a:lnTo>
                    <a:lnTo>
                      <a:pt x="9693" y="18232"/>
                    </a:lnTo>
                    <a:lnTo>
                      <a:pt x="9833" y="17824"/>
                    </a:lnTo>
                    <a:lnTo>
                      <a:pt x="9833" y="17597"/>
                    </a:lnTo>
                    <a:lnTo>
                      <a:pt x="9949" y="17688"/>
                    </a:lnTo>
                    <a:lnTo>
                      <a:pt x="10182" y="17234"/>
                    </a:lnTo>
                    <a:lnTo>
                      <a:pt x="10368" y="17416"/>
                    </a:lnTo>
                    <a:lnTo>
                      <a:pt x="10578" y="17325"/>
                    </a:lnTo>
                    <a:lnTo>
                      <a:pt x="10765" y="17325"/>
                    </a:lnTo>
                    <a:lnTo>
                      <a:pt x="11114" y="17779"/>
                    </a:lnTo>
                    <a:lnTo>
                      <a:pt x="11417" y="17824"/>
                    </a:lnTo>
                    <a:lnTo>
                      <a:pt x="11720" y="17643"/>
                    </a:lnTo>
                    <a:lnTo>
                      <a:pt x="11860" y="17280"/>
                    </a:lnTo>
                    <a:lnTo>
                      <a:pt x="11976" y="17280"/>
                    </a:lnTo>
                    <a:lnTo>
                      <a:pt x="12442" y="17733"/>
                    </a:lnTo>
                    <a:lnTo>
                      <a:pt x="12629" y="17461"/>
                    </a:lnTo>
                    <a:lnTo>
                      <a:pt x="12652" y="17053"/>
                    </a:lnTo>
                    <a:lnTo>
                      <a:pt x="12768" y="16327"/>
                    </a:lnTo>
                    <a:lnTo>
                      <a:pt x="13025" y="16237"/>
                    </a:lnTo>
                    <a:lnTo>
                      <a:pt x="13234" y="16282"/>
                    </a:lnTo>
                    <a:cubicBezTo>
                      <a:pt x="13379" y="16657"/>
                      <a:pt x="13297" y="16645"/>
                      <a:pt x="13398" y="16645"/>
                    </a:cubicBezTo>
                    <a:lnTo>
                      <a:pt x="13444" y="17053"/>
                    </a:lnTo>
                    <a:lnTo>
                      <a:pt x="13677" y="17733"/>
                    </a:lnTo>
                    <a:lnTo>
                      <a:pt x="13747" y="18096"/>
                    </a:lnTo>
                    <a:lnTo>
                      <a:pt x="13957" y="18051"/>
                    </a:lnTo>
                    <a:lnTo>
                      <a:pt x="14050" y="18278"/>
                    </a:lnTo>
                    <a:lnTo>
                      <a:pt x="14190" y="18504"/>
                    </a:lnTo>
                    <a:lnTo>
                      <a:pt x="14330" y="18414"/>
                    </a:lnTo>
                    <a:lnTo>
                      <a:pt x="14446" y="18005"/>
                    </a:lnTo>
                    <a:lnTo>
                      <a:pt x="14656" y="17779"/>
                    </a:lnTo>
                    <a:lnTo>
                      <a:pt x="14633" y="18187"/>
                    </a:lnTo>
                    <a:lnTo>
                      <a:pt x="14376" y="19049"/>
                    </a:lnTo>
                    <a:lnTo>
                      <a:pt x="14143" y="19593"/>
                    </a:lnTo>
                    <a:lnTo>
                      <a:pt x="14120" y="19956"/>
                    </a:lnTo>
                    <a:lnTo>
                      <a:pt x="14166" y="20183"/>
                    </a:lnTo>
                    <a:lnTo>
                      <a:pt x="14376" y="20409"/>
                    </a:lnTo>
                    <a:lnTo>
                      <a:pt x="14772" y="19457"/>
                    </a:lnTo>
                    <a:lnTo>
                      <a:pt x="15075" y="18323"/>
                    </a:lnTo>
                    <a:lnTo>
                      <a:pt x="15192" y="17733"/>
                    </a:lnTo>
                    <a:cubicBezTo>
                      <a:pt x="15216" y="17446"/>
                      <a:pt x="15168" y="17461"/>
                      <a:pt x="15238" y="17461"/>
                    </a:cubicBezTo>
                    <a:lnTo>
                      <a:pt x="15355" y="17053"/>
                    </a:lnTo>
                    <a:lnTo>
                      <a:pt x="15355" y="16327"/>
                    </a:lnTo>
                    <a:cubicBezTo>
                      <a:pt x="15331" y="15813"/>
                      <a:pt x="15417" y="15828"/>
                      <a:pt x="15308" y="15828"/>
                    </a:cubicBezTo>
                    <a:lnTo>
                      <a:pt x="15192" y="15828"/>
                    </a:lnTo>
                    <a:lnTo>
                      <a:pt x="14959" y="15919"/>
                    </a:lnTo>
                    <a:lnTo>
                      <a:pt x="14702" y="15738"/>
                    </a:lnTo>
                    <a:lnTo>
                      <a:pt x="14679" y="15511"/>
                    </a:lnTo>
                    <a:lnTo>
                      <a:pt x="14935" y="15194"/>
                    </a:lnTo>
                    <a:lnTo>
                      <a:pt x="14959" y="14921"/>
                    </a:lnTo>
                    <a:lnTo>
                      <a:pt x="15611" y="13470"/>
                    </a:lnTo>
                    <a:lnTo>
                      <a:pt x="16380" y="13742"/>
                    </a:lnTo>
                    <a:lnTo>
                      <a:pt x="16357" y="13515"/>
                    </a:lnTo>
                    <a:cubicBezTo>
                      <a:pt x="16504" y="13373"/>
                      <a:pt x="16444" y="13379"/>
                      <a:pt x="16520" y="13379"/>
                    </a:cubicBezTo>
                    <a:lnTo>
                      <a:pt x="16683" y="13379"/>
                    </a:lnTo>
                    <a:lnTo>
                      <a:pt x="16753" y="13788"/>
                    </a:lnTo>
                    <a:lnTo>
                      <a:pt x="17196" y="13561"/>
                    </a:lnTo>
                    <a:lnTo>
                      <a:pt x="17172" y="13243"/>
                    </a:lnTo>
                    <a:lnTo>
                      <a:pt x="17615" y="12563"/>
                    </a:lnTo>
                    <a:lnTo>
                      <a:pt x="17895" y="12291"/>
                    </a:lnTo>
                    <a:lnTo>
                      <a:pt x="17895" y="12472"/>
                    </a:lnTo>
                    <a:lnTo>
                      <a:pt x="17778" y="12835"/>
                    </a:lnTo>
                    <a:lnTo>
                      <a:pt x="17895" y="12880"/>
                    </a:lnTo>
                    <a:lnTo>
                      <a:pt x="18174" y="12291"/>
                    </a:lnTo>
                    <a:lnTo>
                      <a:pt x="18221" y="12880"/>
                    </a:lnTo>
                    <a:lnTo>
                      <a:pt x="17895" y="13243"/>
                    </a:lnTo>
                    <a:lnTo>
                      <a:pt x="17778" y="13561"/>
                    </a:lnTo>
                    <a:lnTo>
                      <a:pt x="17638" y="13969"/>
                    </a:lnTo>
                    <a:lnTo>
                      <a:pt x="17382" y="14422"/>
                    </a:lnTo>
                    <a:lnTo>
                      <a:pt x="17149" y="15420"/>
                    </a:lnTo>
                    <a:lnTo>
                      <a:pt x="17335" y="16826"/>
                    </a:lnTo>
                    <a:lnTo>
                      <a:pt x="17452" y="17144"/>
                    </a:lnTo>
                    <a:lnTo>
                      <a:pt x="17778" y="16237"/>
                    </a:lnTo>
                    <a:lnTo>
                      <a:pt x="17965" y="15692"/>
                    </a:lnTo>
                    <a:lnTo>
                      <a:pt x="18104" y="15692"/>
                    </a:lnTo>
                    <a:lnTo>
                      <a:pt x="18081" y="15057"/>
                    </a:lnTo>
                    <a:lnTo>
                      <a:pt x="18221" y="14422"/>
                    </a:lnTo>
                    <a:lnTo>
                      <a:pt x="18104" y="14014"/>
                    </a:lnTo>
                    <a:lnTo>
                      <a:pt x="18151" y="13742"/>
                    </a:lnTo>
                    <a:lnTo>
                      <a:pt x="18407" y="13742"/>
                    </a:lnTo>
                    <a:lnTo>
                      <a:pt x="18454" y="13515"/>
                    </a:lnTo>
                    <a:lnTo>
                      <a:pt x="18454" y="13334"/>
                    </a:lnTo>
                    <a:lnTo>
                      <a:pt x="18594" y="13243"/>
                    </a:lnTo>
                    <a:lnTo>
                      <a:pt x="18920" y="12880"/>
                    </a:lnTo>
                    <a:lnTo>
                      <a:pt x="19060" y="12835"/>
                    </a:lnTo>
                    <a:lnTo>
                      <a:pt x="19339" y="13016"/>
                    </a:lnTo>
                    <a:lnTo>
                      <a:pt x="19479" y="12472"/>
                    </a:lnTo>
                    <a:cubicBezTo>
                      <a:pt x="19696" y="12238"/>
                      <a:pt x="19609" y="12245"/>
                      <a:pt x="19712" y="12245"/>
                    </a:cubicBezTo>
                    <a:lnTo>
                      <a:pt x="19782" y="11973"/>
                    </a:lnTo>
                    <a:lnTo>
                      <a:pt x="20085" y="12064"/>
                    </a:lnTo>
                    <a:lnTo>
                      <a:pt x="20341" y="11747"/>
                    </a:lnTo>
                    <a:cubicBezTo>
                      <a:pt x="20151" y="11190"/>
                      <a:pt x="20267" y="11202"/>
                      <a:pt x="20132" y="11202"/>
                    </a:cubicBezTo>
                    <a:lnTo>
                      <a:pt x="19968" y="10885"/>
                    </a:lnTo>
                    <a:lnTo>
                      <a:pt x="19968" y="10658"/>
                    </a:lnTo>
                    <a:lnTo>
                      <a:pt x="20132" y="10658"/>
                    </a:lnTo>
                    <a:lnTo>
                      <a:pt x="20434" y="10159"/>
                    </a:lnTo>
                    <a:lnTo>
                      <a:pt x="20411" y="9796"/>
                    </a:lnTo>
                    <a:lnTo>
                      <a:pt x="20528" y="9706"/>
                    </a:lnTo>
                    <a:lnTo>
                      <a:pt x="20574" y="10023"/>
                    </a:lnTo>
                    <a:lnTo>
                      <a:pt x="20877" y="10341"/>
                    </a:lnTo>
                    <a:lnTo>
                      <a:pt x="21133" y="10885"/>
                    </a:lnTo>
                    <a:lnTo>
                      <a:pt x="21250" y="10885"/>
                    </a:lnTo>
                    <a:lnTo>
                      <a:pt x="21320" y="10159"/>
                    </a:lnTo>
                    <a:lnTo>
                      <a:pt x="21460" y="10159"/>
                    </a:lnTo>
                    <a:lnTo>
                      <a:pt x="21599" y="9842"/>
                    </a:lnTo>
                    <a:lnTo>
                      <a:pt x="21180" y="9297"/>
                    </a:lnTo>
                    <a:lnTo>
                      <a:pt x="20970" y="9479"/>
                    </a:lnTo>
                    <a:lnTo>
                      <a:pt x="20854" y="8889"/>
                    </a:lnTo>
                    <a:lnTo>
                      <a:pt x="20551" y="8345"/>
                    </a:lnTo>
                    <a:lnTo>
                      <a:pt x="20225" y="8027"/>
                    </a:lnTo>
                    <a:lnTo>
                      <a:pt x="19992" y="7574"/>
                    </a:lnTo>
                    <a:lnTo>
                      <a:pt x="19712" y="7347"/>
                    </a:lnTo>
                    <a:lnTo>
                      <a:pt x="19363" y="7256"/>
                    </a:lnTo>
                    <a:lnTo>
                      <a:pt x="19223" y="7166"/>
                    </a:lnTo>
                    <a:lnTo>
                      <a:pt x="19269" y="7710"/>
                    </a:lnTo>
                    <a:lnTo>
                      <a:pt x="19246" y="8118"/>
                    </a:lnTo>
                    <a:lnTo>
                      <a:pt x="19083" y="8209"/>
                    </a:lnTo>
                    <a:lnTo>
                      <a:pt x="19013" y="7846"/>
                    </a:lnTo>
                    <a:lnTo>
                      <a:pt x="18897" y="7574"/>
                    </a:lnTo>
                    <a:lnTo>
                      <a:pt x="19036" y="7347"/>
                    </a:lnTo>
                    <a:lnTo>
                      <a:pt x="18990" y="7211"/>
                    </a:lnTo>
                    <a:lnTo>
                      <a:pt x="18710" y="7393"/>
                    </a:lnTo>
                    <a:lnTo>
                      <a:pt x="18594" y="7483"/>
                    </a:lnTo>
                    <a:lnTo>
                      <a:pt x="18128" y="7483"/>
                    </a:lnTo>
                    <a:lnTo>
                      <a:pt x="17941" y="7755"/>
                    </a:lnTo>
                    <a:lnTo>
                      <a:pt x="17871" y="7529"/>
                    </a:lnTo>
                    <a:lnTo>
                      <a:pt x="17871" y="6939"/>
                    </a:lnTo>
                    <a:lnTo>
                      <a:pt x="17685" y="6531"/>
                    </a:lnTo>
                    <a:lnTo>
                      <a:pt x="17382" y="6395"/>
                    </a:lnTo>
                    <a:lnTo>
                      <a:pt x="16916" y="6531"/>
                    </a:lnTo>
                    <a:lnTo>
                      <a:pt x="16730" y="6259"/>
                    </a:lnTo>
                    <a:lnTo>
                      <a:pt x="16683" y="6395"/>
                    </a:lnTo>
                    <a:lnTo>
                      <a:pt x="16660" y="6077"/>
                    </a:lnTo>
                    <a:lnTo>
                      <a:pt x="16497" y="5352"/>
                    </a:lnTo>
                    <a:lnTo>
                      <a:pt x="16333" y="5397"/>
                    </a:lnTo>
                    <a:lnTo>
                      <a:pt x="16170" y="5714"/>
                    </a:lnTo>
                    <a:lnTo>
                      <a:pt x="16124" y="5352"/>
                    </a:lnTo>
                    <a:lnTo>
                      <a:pt x="15984" y="5261"/>
                    </a:lnTo>
                    <a:lnTo>
                      <a:pt x="15541" y="5079"/>
                    </a:lnTo>
                    <a:lnTo>
                      <a:pt x="15425" y="5170"/>
                    </a:lnTo>
                    <a:lnTo>
                      <a:pt x="15308" y="5352"/>
                    </a:lnTo>
                    <a:lnTo>
                      <a:pt x="15238" y="5578"/>
                    </a:lnTo>
                    <a:lnTo>
                      <a:pt x="15238" y="6077"/>
                    </a:lnTo>
                    <a:lnTo>
                      <a:pt x="15029" y="6259"/>
                    </a:lnTo>
                    <a:lnTo>
                      <a:pt x="14842" y="5987"/>
                    </a:lnTo>
                    <a:lnTo>
                      <a:pt x="14679" y="6077"/>
                    </a:lnTo>
                    <a:lnTo>
                      <a:pt x="14446" y="6077"/>
                    </a:lnTo>
                    <a:lnTo>
                      <a:pt x="14423" y="5760"/>
                    </a:lnTo>
                    <a:lnTo>
                      <a:pt x="14260" y="6123"/>
                    </a:lnTo>
                    <a:lnTo>
                      <a:pt x="14166" y="6531"/>
                    </a:lnTo>
                    <a:lnTo>
                      <a:pt x="14050" y="5987"/>
                    </a:lnTo>
                    <a:lnTo>
                      <a:pt x="14050" y="5079"/>
                    </a:lnTo>
                    <a:lnTo>
                      <a:pt x="14003" y="4626"/>
                    </a:lnTo>
                    <a:lnTo>
                      <a:pt x="13817" y="4626"/>
                    </a:lnTo>
                    <a:lnTo>
                      <a:pt x="13631" y="4535"/>
                    </a:lnTo>
                    <a:lnTo>
                      <a:pt x="13281" y="4535"/>
                    </a:lnTo>
                    <a:lnTo>
                      <a:pt x="13071" y="4853"/>
                    </a:lnTo>
                    <a:lnTo>
                      <a:pt x="12559" y="4490"/>
                    </a:lnTo>
                    <a:lnTo>
                      <a:pt x="12442" y="4218"/>
                    </a:lnTo>
                    <a:lnTo>
                      <a:pt x="11953" y="4036"/>
                    </a:lnTo>
                    <a:lnTo>
                      <a:pt x="11836" y="3764"/>
                    </a:lnTo>
                    <a:lnTo>
                      <a:pt x="11836" y="3447"/>
                    </a:lnTo>
                    <a:lnTo>
                      <a:pt x="11720" y="3220"/>
                    </a:lnTo>
                    <a:lnTo>
                      <a:pt x="11557" y="3537"/>
                    </a:lnTo>
                    <a:lnTo>
                      <a:pt x="11440" y="3946"/>
                    </a:lnTo>
                    <a:lnTo>
                      <a:pt x="11184" y="4354"/>
                    </a:lnTo>
                    <a:lnTo>
                      <a:pt x="11184" y="4490"/>
                    </a:lnTo>
                    <a:lnTo>
                      <a:pt x="11067" y="3991"/>
                    </a:lnTo>
                    <a:lnTo>
                      <a:pt x="10998" y="3810"/>
                    </a:lnTo>
                    <a:lnTo>
                      <a:pt x="11254" y="3719"/>
                    </a:lnTo>
                    <a:lnTo>
                      <a:pt x="11580" y="2993"/>
                    </a:lnTo>
                    <a:lnTo>
                      <a:pt x="11860" y="2449"/>
                    </a:lnTo>
                    <a:lnTo>
                      <a:pt x="11860" y="1814"/>
                    </a:lnTo>
                    <a:lnTo>
                      <a:pt x="11790" y="1224"/>
                    </a:lnTo>
                    <a:lnTo>
                      <a:pt x="11487" y="1043"/>
                    </a:lnTo>
                    <a:lnTo>
                      <a:pt x="11091" y="1451"/>
                    </a:lnTo>
                    <a:lnTo>
                      <a:pt x="10951" y="1360"/>
                    </a:lnTo>
                    <a:lnTo>
                      <a:pt x="10904" y="952"/>
                    </a:lnTo>
                    <a:lnTo>
                      <a:pt x="10904" y="499"/>
                    </a:lnTo>
                    <a:lnTo>
                      <a:pt x="11114" y="181"/>
                    </a:lnTo>
                    <a:cubicBezTo>
                      <a:pt x="10867" y="-11"/>
                      <a:pt x="10965" y="0"/>
                      <a:pt x="10834" y="0"/>
                    </a:cubicBezTo>
                    <a:lnTo>
                      <a:pt x="10485" y="272"/>
                    </a:lnTo>
                    <a:lnTo>
                      <a:pt x="10299" y="952"/>
                    </a:lnTo>
                    <a:lnTo>
                      <a:pt x="10275" y="1224"/>
                    </a:lnTo>
                    <a:lnTo>
                      <a:pt x="10042" y="1315"/>
                    </a:lnTo>
                    <a:lnTo>
                      <a:pt x="10066" y="1496"/>
                    </a:lnTo>
                    <a:lnTo>
                      <a:pt x="10345" y="1905"/>
                    </a:lnTo>
                    <a:lnTo>
                      <a:pt x="10368" y="2267"/>
                    </a:lnTo>
                    <a:lnTo>
                      <a:pt x="10299" y="2585"/>
                    </a:lnTo>
                    <a:lnTo>
                      <a:pt x="10089" y="2177"/>
                    </a:lnTo>
                    <a:lnTo>
                      <a:pt x="9926" y="1814"/>
                    </a:lnTo>
                    <a:lnTo>
                      <a:pt x="9623" y="1769"/>
                    </a:lnTo>
                    <a:lnTo>
                      <a:pt x="9390" y="1632"/>
                    </a:lnTo>
                    <a:lnTo>
                      <a:pt x="9017" y="2041"/>
                    </a:lnTo>
                    <a:lnTo>
                      <a:pt x="8714" y="2222"/>
                    </a:lnTo>
                    <a:lnTo>
                      <a:pt x="8598" y="2902"/>
                    </a:lnTo>
                    <a:lnTo>
                      <a:pt x="8434" y="3356"/>
                    </a:lnTo>
                    <a:cubicBezTo>
                      <a:pt x="8241" y="3591"/>
                      <a:pt x="8248" y="3440"/>
                      <a:pt x="8248" y="3628"/>
                    </a:cubicBezTo>
                    <a:lnTo>
                      <a:pt x="8271" y="3764"/>
                    </a:lnTo>
                    <a:lnTo>
                      <a:pt x="8015" y="4127"/>
                    </a:lnTo>
                    <a:lnTo>
                      <a:pt x="7875" y="4444"/>
                    </a:lnTo>
                    <a:lnTo>
                      <a:pt x="7759" y="4943"/>
                    </a:lnTo>
                    <a:lnTo>
                      <a:pt x="7829" y="5442"/>
                    </a:lnTo>
                    <a:lnTo>
                      <a:pt x="8085" y="5714"/>
                    </a:lnTo>
                    <a:lnTo>
                      <a:pt x="8155" y="5987"/>
                    </a:lnTo>
                    <a:lnTo>
                      <a:pt x="8132" y="6848"/>
                    </a:lnTo>
                    <a:lnTo>
                      <a:pt x="8248" y="7574"/>
                    </a:lnTo>
                    <a:lnTo>
                      <a:pt x="7922" y="7030"/>
                    </a:lnTo>
                    <a:lnTo>
                      <a:pt x="7922" y="6667"/>
                    </a:lnTo>
                    <a:lnTo>
                      <a:pt x="7852" y="6621"/>
                    </a:lnTo>
                    <a:cubicBezTo>
                      <a:pt x="8019" y="6019"/>
                      <a:pt x="8130" y="6032"/>
                      <a:pt x="7992" y="6032"/>
                    </a:cubicBezTo>
                    <a:lnTo>
                      <a:pt x="7945" y="5850"/>
                    </a:lnTo>
                    <a:lnTo>
                      <a:pt x="7666" y="5760"/>
                    </a:lnTo>
                    <a:lnTo>
                      <a:pt x="7316" y="5352"/>
                    </a:lnTo>
                    <a:lnTo>
                      <a:pt x="7223" y="5488"/>
                    </a:lnTo>
                    <a:lnTo>
                      <a:pt x="7199" y="4989"/>
                    </a:lnTo>
                    <a:lnTo>
                      <a:pt x="7130" y="4762"/>
                    </a:lnTo>
                    <a:lnTo>
                      <a:pt x="6943" y="4807"/>
                    </a:lnTo>
                    <a:lnTo>
                      <a:pt x="6943" y="4989"/>
                    </a:lnTo>
                    <a:lnTo>
                      <a:pt x="7013" y="5442"/>
                    </a:lnTo>
                    <a:lnTo>
                      <a:pt x="6943" y="5624"/>
                    </a:lnTo>
                    <a:lnTo>
                      <a:pt x="6757" y="5941"/>
                    </a:lnTo>
                    <a:lnTo>
                      <a:pt x="6803" y="6304"/>
                    </a:lnTo>
                    <a:lnTo>
                      <a:pt x="6920" y="6485"/>
                    </a:lnTo>
                    <a:lnTo>
                      <a:pt x="6873" y="6848"/>
                    </a:lnTo>
                    <a:lnTo>
                      <a:pt x="6827" y="7166"/>
                    </a:lnTo>
                    <a:lnTo>
                      <a:pt x="6780" y="7710"/>
                    </a:lnTo>
                    <a:lnTo>
                      <a:pt x="6920" y="7846"/>
                    </a:lnTo>
                    <a:lnTo>
                      <a:pt x="7083" y="7665"/>
                    </a:lnTo>
                    <a:lnTo>
                      <a:pt x="7176" y="7619"/>
                    </a:lnTo>
                    <a:lnTo>
                      <a:pt x="7339" y="7801"/>
                    </a:lnTo>
                    <a:lnTo>
                      <a:pt x="7456" y="8481"/>
                    </a:lnTo>
                    <a:lnTo>
                      <a:pt x="7456" y="8844"/>
                    </a:lnTo>
                    <a:lnTo>
                      <a:pt x="7642" y="8844"/>
                    </a:lnTo>
                    <a:lnTo>
                      <a:pt x="7875" y="8980"/>
                    </a:lnTo>
                    <a:lnTo>
                      <a:pt x="7666" y="9297"/>
                    </a:lnTo>
                    <a:lnTo>
                      <a:pt x="7572" y="9343"/>
                    </a:lnTo>
                    <a:lnTo>
                      <a:pt x="7642" y="9796"/>
                    </a:lnTo>
                    <a:lnTo>
                      <a:pt x="7642" y="10341"/>
                    </a:lnTo>
                    <a:lnTo>
                      <a:pt x="7526" y="10341"/>
                    </a:lnTo>
                    <a:lnTo>
                      <a:pt x="7433" y="9842"/>
                    </a:lnTo>
                    <a:lnTo>
                      <a:pt x="7409" y="9297"/>
                    </a:lnTo>
                    <a:lnTo>
                      <a:pt x="7269" y="9297"/>
                    </a:lnTo>
                    <a:lnTo>
                      <a:pt x="7223" y="9706"/>
                    </a:lnTo>
                    <a:lnTo>
                      <a:pt x="7060" y="9706"/>
                    </a:lnTo>
                    <a:lnTo>
                      <a:pt x="7176" y="9207"/>
                    </a:lnTo>
                    <a:lnTo>
                      <a:pt x="7176" y="8526"/>
                    </a:lnTo>
                    <a:lnTo>
                      <a:pt x="7130" y="7891"/>
                    </a:lnTo>
                    <a:lnTo>
                      <a:pt x="7013" y="8027"/>
                    </a:lnTo>
                    <a:lnTo>
                      <a:pt x="6873" y="8164"/>
                    </a:lnTo>
                    <a:lnTo>
                      <a:pt x="6873" y="9071"/>
                    </a:lnTo>
                    <a:lnTo>
                      <a:pt x="6827" y="9570"/>
                    </a:lnTo>
                    <a:lnTo>
                      <a:pt x="6547" y="9706"/>
                    </a:lnTo>
                    <a:lnTo>
                      <a:pt x="6314" y="9751"/>
                    </a:lnTo>
                    <a:lnTo>
                      <a:pt x="6034" y="9479"/>
                    </a:lnTo>
                    <a:lnTo>
                      <a:pt x="6128" y="9388"/>
                    </a:lnTo>
                    <a:lnTo>
                      <a:pt x="6361" y="9207"/>
                    </a:lnTo>
                    <a:lnTo>
                      <a:pt x="6570" y="9207"/>
                    </a:lnTo>
                    <a:lnTo>
                      <a:pt x="6547" y="8889"/>
                    </a:lnTo>
                    <a:lnTo>
                      <a:pt x="6687" y="8436"/>
                    </a:lnTo>
                    <a:lnTo>
                      <a:pt x="6617" y="8164"/>
                    </a:lnTo>
                    <a:lnTo>
                      <a:pt x="6617" y="7256"/>
                    </a:lnTo>
                    <a:lnTo>
                      <a:pt x="6640" y="6667"/>
                    </a:lnTo>
                    <a:lnTo>
                      <a:pt x="6547" y="6259"/>
                    </a:lnTo>
                    <a:lnTo>
                      <a:pt x="6547" y="5669"/>
                    </a:lnTo>
                    <a:lnTo>
                      <a:pt x="6710" y="5170"/>
                    </a:lnTo>
                    <a:lnTo>
                      <a:pt x="6733" y="4989"/>
                    </a:lnTo>
                    <a:lnTo>
                      <a:pt x="6640" y="4898"/>
                    </a:lnTo>
                    <a:lnTo>
                      <a:pt x="6407" y="5034"/>
                    </a:lnTo>
                    <a:cubicBezTo>
                      <a:pt x="6333" y="4841"/>
                      <a:pt x="6376" y="4853"/>
                      <a:pt x="6314" y="4853"/>
                    </a:cubicBezTo>
                    <a:lnTo>
                      <a:pt x="6151" y="5216"/>
                    </a:lnTo>
                    <a:lnTo>
                      <a:pt x="6151" y="5624"/>
                    </a:lnTo>
                    <a:lnTo>
                      <a:pt x="5918" y="6077"/>
                    </a:lnTo>
                    <a:lnTo>
                      <a:pt x="5895" y="6667"/>
                    </a:lnTo>
                    <a:lnTo>
                      <a:pt x="5941" y="7347"/>
                    </a:lnTo>
                    <a:lnTo>
                      <a:pt x="6034" y="7846"/>
                    </a:lnTo>
                    <a:lnTo>
                      <a:pt x="5965" y="7982"/>
                    </a:lnTo>
                    <a:lnTo>
                      <a:pt x="5685" y="7665"/>
                    </a:lnTo>
                    <a:lnTo>
                      <a:pt x="5475" y="7393"/>
                    </a:lnTo>
                    <a:lnTo>
                      <a:pt x="5172" y="7347"/>
                    </a:lnTo>
                    <a:lnTo>
                      <a:pt x="5242" y="7755"/>
                    </a:lnTo>
                    <a:lnTo>
                      <a:pt x="5242" y="8027"/>
                    </a:lnTo>
                    <a:lnTo>
                      <a:pt x="5033" y="8345"/>
                    </a:lnTo>
                    <a:lnTo>
                      <a:pt x="5056" y="7801"/>
                    </a:lnTo>
                    <a:lnTo>
                      <a:pt x="4916" y="7755"/>
                    </a:lnTo>
                    <a:lnTo>
                      <a:pt x="4846" y="8164"/>
                    </a:lnTo>
                    <a:lnTo>
                      <a:pt x="4590" y="8164"/>
                    </a:lnTo>
                    <a:lnTo>
                      <a:pt x="4380" y="8345"/>
                    </a:lnTo>
                    <a:lnTo>
                      <a:pt x="4427" y="7846"/>
                    </a:lnTo>
                    <a:cubicBezTo>
                      <a:pt x="4303" y="7798"/>
                      <a:pt x="4350" y="7801"/>
                      <a:pt x="4287" y="7801"/>
                    </a:cubicBezTo>
                    <a:lnTo>
                      <a:pt x="4077" y="8209"/>
                    </a:lnTo>
                    <a:lnTo>
                      <a:pt x="3867" y="8345"/>
                    </a:lnTo>
                    <a:lnTo>
                      <a:pt x="3634" y="8662"/>
                    </a:lnTo>
                    <a:lnTo>
                      <a:pt x="3541" y="9071"/>
                    </a:lnTo>
                    <a:lnTo>
                      <a:pt x="3518" y="9297"/>
                    </a:lnTo>
                    <a:lnTo>
                      <a:pt x="3355" y="9161"/>
                    </a:lnTo>
                    <a:lnTo>
                      <a:pt x="3262" y="9025"/>
                    </a:lnTo>
                    <a:lnTo>
                      <a:pt x="3308" y="8753"/>
                    </a:lnTo>
                    <a:lnTo>
                      <a:pt x="3425" y="8481"/>
                    </a:lnTo>
                    <a:lnTo>
                      <a:pt x="3308" y="7937"/>
                    </a:lnTo>
                    <a:lnTo>
                      <a:pt x="3052" y="7982"/>
                    </a:lnTo>
                    <a:lnTo>
                      <a:pt x="2935" y="8027"/>
                    </a:lnTo>
                    <a:lnTo>
                      <a:pt x="3029" y="8209"/>
                    </a:lnTo>
                    <a:lnTo>
                      <a:pt x="3029" y="8481"/>
                    </a:lnTo>
                    <a:lnTo>
                      <a:pt x="3052" y="8889"/>
                    </a:lnTo>
                    <a:lnTo>
                      <a:pt x="3122" y="9207"/>
                    </a:lnTo>
                    <a:lnTo>
                      <a:pt x="3122" y="9524"/>
                    </a:lnTo>
                    <a:lnTo>
                      <a:pt x="3029" y="9706"/>
                    </a:lnTo>
                    <a:lnTo>
                      <a:pt x="2889" y="9433"/>
                    </a:lnTo>
                    <a:lnTo>
                      <a:pt x="2633" y="9932"/>
                    </a:lnTo>
                    <a:lnTo>
                      <a:pt x="2493" y="10114"/>
                    </a:lnTo>
                    <a:lnTo>
                      <a:pt x="2493" y="10295"/>
                    </a:lnTo>
                    <a:lnTo>
                      <a:pt x="2656" y="10567"/>
                    </a:lnTo>
                    <a:lnTo>
                      <a:pt x="2446" y="10658"/>
                    </a:lnTo>
                    <a:lnTo>
                      <a:pt x="2236" y="10431"/>
                    </a:lnTo>
                    <a:lnTo>
                      <a:pt x="2166" y="10023"/>
                    </a:lnTo>
                    <a:lnTo>
                      <a:pt x="2050" y="10114"/>
                    </a:lnTo>
                    <a:lnTo>
                      <a:pt x="2143" y="10567"/>
                    </a:lnTo>
                    <a:lnTo>
                      <a:pt x="2260" y="11157"/>
                    </a:lnTo>
                    <a:lnTo>
                      <a:pt x="2120" y="11112"/>
                    </a:lnTo>
                    <a:lnTo>
                      <a:pt x="1980" y="10703"/>
                    </a:lnTo>
                    <a:lnTo>
                      <a:pt x="1840" y="10658"/>
                    </a:lnTo>
                    <a:lnTo>
                      <a:pt x="1840" y="9842"/>
                    </a:lnTo>
                    <a:lnTo>
                      <a:pt x="1584" y="9524"/>
                    </a:lnTo>
                    <a:lnTo>
                      <a:pt x="1561" y="9116"/>
                    </a:lnTo>
                    <a:lnTo>
                      <a:pt x="1770" y="9297"/>
                    </a:lnTo>
                    <a:lnTo>
                      <a:pt x="2003" y="9570"/>
                    </a:lnTo>
                    <a:lnTo>
                      <a:pt x="2283" y="9887"/>
                    </a:lnTo>
                    <a:lnTo>
                      <a:pt x="2423" y="9751"/>
                    </a:lnTo>
                    <a:lnTo>
                      <a:pt x="2633" y="9433"/>
                    </a:lnTo>
                    <a:lnTo>
                      <a:pt x="2702" y="8889"/>
                    </a:lnTo>
                    <a:cubicBezTo>
                      <a:pt x="2629" y="8558"/>
                      <a:pt x="2692" y="8572"/>
                      <a:pt x="2609" y="8572"/>
                    </a:cubicBezTo>
                    <a:lnTo>
                      <a:pt x="2376" y="8345"/>
                    </a:lnTo>
                    <a:lnTo>
                      <a:pt x="2236" y="7846"/>
                    </a:lnTo>
                    <a:lnTo>
                      <a:pt x="1980" y="7619"/>
                    </a:lnTo>
                    <a:lnTo>
                      <a:pt x="1700" y="7529"/>
                    </a:lnTo>
                    <a:lnTo>
                      <a:pt x="1561" y="7256"/>
                    </a:lnTo>
                    <a:lnTo>
                      <a:pt x="1421" y="7120"/>
                    </a:lnTo>
                    <a:lnTo>
                      <a:pt x="1234" y="7574"/>
                    </a:lnTo>
                    <a:lnTo>
                      <a:pt x="1141" y="8073"/>
                    </a:lnTo>
                    <a:lnTo>
                      <a:pt x="1165" y="8345"/>
                    </a:lnTo>
                    <a:lnTo>
                      <a:pt x="1304" y="8572"/>
                    </a:lnTo>
                    <a:lnTo>
                      <a:pt x="1351" y="9161"/>
                    </a:lnTo>
                    <a:lnTo>
                      <a:pt x="1234" y="9479"/>
                    </a:lnTo>
                    <a:lnTo>
                      <a:pt x="1188" y="9615"/>
                    </a:lnTo>
                    <a:lnTo>
                      <a:pt x="1258" y="9932"/>
                    </a:lnTo>
                    <a:lnTo>
                      <a:pt x="1234" y="10976"/>
                    </a:lnTo>
                    <a:cubicBezTo>
                      <a:pt x="1307" y="11307"/>
                      <a:pt x="1364" y="11293"/>
                      <a:pt x="1281" y="11293"/>
                    </a:cubicBezTo>
                    <a:lnTo>
                      <a:pt x="1421" y="12019"/>
                    </a:lnTo>
                    <a:lnTo>
                      <a:pt x="1304" y="12200"/>
                    </a:lnTo>
                    <a:lnTo>
                      <a:pt x="1048" y="12654"/>
                    </a:lnTo>
                    <a:lnTo>
                      <a:pt x="1001" y="12744"/>
                    </a:lnTo>
                    <a:lnTo>
                      <a:pt x="1118" y="12971"/>
                    </a:lnTo>
                    <a:lnTo>
                      <a:pt x="1188" y="13107"/>
                    </a:lnTo>
                    <a:lnTo>
                      <a:pt x="1001" y="13243"/>
                    </a:lnTo>
                    <a:lnTo>
                      <a:pt x="838" y="13334"/>
                    </a:lnTo>
                    <a:lnTo>
                      <a:pt x="652" y="13289"/>
                    </a:lnTo>
                    <a:lnTo>
                      <a:pt x="442" y="13425"/>
                    </a:lnTo>
                    <a:lnTo>
                      <a:pt x="442" y="13878"/>
                    </a:lnTo>
                    <a:lnTo>
                      <a:pt x="512" y="14014"/>
                    </a:lnTo>
                    <a:lnTo>
                      <a:pt x="559" y="14468"/>
                    </a:lnTo>
                    <a:lnTo>
                      <a:pt x="372" y="14559"/>
                    </a:lnTo>
                    <a:lnTo>
                      <a:pt x="279" y="14241"/>
                    </a:lnTo>
                    <a:lnTo>
                      <a:pt x="93" y="14196"/>
                    </a:lnTo>
                    <a:lnTo>
                      <a:pt x="0" y="14785"/>
                    </a:lnTo>
                    <a:lnTo>
                      <a:pt x="23" y="15330"/>
                    </a:lnTo>
                    <a:lnTo>
                      <a:pt x="233" y="15375"/>
                    </a:lnTo>
                    <a:lnTo>
                      <a:pt x="349" y="15511"/>
                    </a:lnTo>
                    <a:lnTo>
                      <a:pt x="466" y="16101"/>
                    </a:lnTo>
                    <a:lnTo>
                      <a:pt x="419" y="16373"/>
                    </a:lnTo>
                    <a:lnTo>
                      <a:pt x="559" y="16736"/>
                    </a:lnTo>
                    <a:lnTo>
                      <a:pt x="652" y="17144"/>
                    </a:lnTo>
                    <a:lnTo>
                      <a:pt x="349" y="17643"/>
                    </a:lnTo>
                    <a:lnTo>
                      <a:pt x="302" y="17824"/>
                    </a:lnTo>
                    <a:lnTo>
                      <a:pt x="186" y="18005"/>
                    </a:lnTo>
                    <a:lnTo>
                      <a:pt x="302" y="18096"/>
                    </a:lnTo>
                    <a:lnTo>
                      <a:pt x="419" y="18005"/>
                    </a:lnTo>
                    <a:lnTo>
                      <a:pt x="745" y="17960"/>
                    </a:lnTo>
                    <a:lnTo>
                      <a:pt x="862" y="17869"/>
                    </a:lnTo>
                    <a:lnTo>
                      <a:pt x="1095" y="18323"/>
                    </a:lnTo>
                    <a:lnTo>
                      <a:pt x="1095" y="19139"/>
                    </a:lnTo>
                    <a:lnTo>
                      <a:pt x="1374" y="19003"/>
                    </a:lnTo>
                    <a:lnTo>
                      <a:pt x="1514" y="19003"/>
                    </a:lnTo>
                    <a:lnTo>
                      <a:pt x="1840" y="19230"/>
                    </a:lnTo>
                    <a:lnTo>
                      <a:pt x="2073" y="18777"/>
                    </a:lnTo>
                    <a:lnTo>
                      <a:pt x="2190" y="18867"/>
                    </a:lnTo>
                    <a:lnTo>
                      <a:pt x="2027" y="19230"/>
                    </a:lnTo>
                    <a:lnTo>
                      <a:pt x="2050" y="19411"/>
                    </a:lnTo>
                    <a:lnTo>
                      <a:pt x="2260" y="19774"/>
                    </a:lnTo>
                    <a:lnTo>
                      <a:pt x="2586" y="20319"/>
                    </a:lnTo>
                    <a:lnTo>
                      <a:pt x="2586" y="20636"/>
                    </a:lnTo>
                    <a:cubicBezTo>
                      <a:pt x="2464" y="20874"/>
                      <a:pt x="2414" y="20863"/>
                      <a:pt x="2493" y="20863"/>
                    </a:cubicBezTo>
                    <a:lnTo>
                      <a:pt x="2772" y="21135"/>
                    </a:lnTo>
                    <a:lnTo>
                      <a:pt x="2866" y="21452"/>
                    </a:lnTo>
                    <a:lnTo>
                      <a:pt x="3005" y="21452"/>
                    </a:lnTo>
                    <a:lnTo>
                      <a:pt x="3192" y="21588"/>
                    </a:lnTo>
                    <a:lnTo>
                      <a:pt x="3378" y="21316"/>
                    </a:lnTo>
                    <a:lnTo>
                      <a:pt x="3541" y="21498"/>
                    </a:lnTo>
                    <a:lnTo>
                      <a:pt x="3518" y="21044"/>
                    </a:lnTo>
                    <a:lnTo>
                      <a:pt x="3611" y="20817"/>
                    </a:lnTo>
                    <a:lnTo>
                      <a:pt x="3495" y="20500"/>
                    </a:lnTo>
                    <a:lnTo>
                      <a:pt x="3541" y="20228"/>
                    </a:lnTo>
                    <a:lnTo>
                      <a:pt x="3332" y="20001"/>
                    </a:lnTo>
                    <a:lnTo>
                      <a:pt x="3332" y="19366"/>
                    </a:lnTo>
                    <a:lnTo>
                      <a:pt x="3401" y="19049"/>
                    </a:lnTo>
                    <a:lnTo>
                      <a:pt x="3611" y="18822"/>
                    </a:lnTo>
                    <a:lnTo>
                      <a:pt x="3867" y="18731"/>
                    </a:lnTo>
                    <a:cubicBezTo>
                      <a:pt x="3953" y="18777"/>
                      <a:pt x="3627" y="18376"/>
                      <a:pt x="3627" y="18376"/>
                    </a:cubicBezTo>
                    <a:lnTo>
                      <a:pt x="3677" y="18063"/>
                    </a:lnTo>
                    <a:lnTo>
                      <a:pt x="3449" y="17756"/>
                    </a:lnTo>
                    <a:lnTo>
                      <a:pt x="3680" y="17756"/>
                    </a:lnTo>
                    <a:lnTo>
                      <a:pt x="3853" y="17107"/>
                    </a:lnTo>
                    <a:lnTo>
                      <a:pt x="3958" y="17517"/>
                    </a:lnTo>
                    <a:lnTo>
                      <a:pt x="4520" y="17346"/>
                    </a:lnTo>
                    <a:lnTo>
                      <a:pt x="5046" y="17244"/>
                    </a:lnTo>
                    <a:lnTo>
                      <a:pt x="5607" y="16697"/>
                    </a:lnTo>
                    <a:lnTo>
                      <a:pt x="5871" y="16219"/>
                    </a:lnTo>
                    <a:lnTo>
                      <a:pt x="6502" y="16527"/>
                    </a:lnTo>
                    <a:lnTo>
                      <a:pt x="6941" y="16663"/>
                    </a:lnTo>
                    <a:cubicBezTo>
                      <a:pt x="7091" y="15674"/>
                      <a:pt x="7170" y="16665"/>
                      <a:pt x="7285" y="16666"/>
                    </a:cubicBezTo>
                    <a:lnTo>
                      <a:pt x="7747" y="17300"/>
                    </a:lnTo>
                    <a:lnTo>
                      <a:pt x="8737" y="17643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2" name="AutoShape 80"/>
              <p:cNvSpPr>
                <a:spLocks/>
              </p:cNvSpPr>
              <p:nvPr/>
            </p:nvSpPr>
            <p:spPr bwMode="auto">
              <a:xfrm>
                <a:off x="384557" y="815092"/>
                <a:ext cx="34925" cy="19040"/>
              </a:xfrm>
              <a:custGeom>
                <a:avLst/>
                <a:gdLst>
                  <a:gd name="T0" fmla="*/ 10735 w 21471"/>
                  <a:gd name="T1" fmla="*/ 10800 h 21600"/>
                  <a:gd name="T2" fmla="*/ 10735 w 21471"/>
                  <a:gd name="T3" fmla="*/ 10800 h 21600"/>
                  <a:gd name="T4" fmla="*/ 10735 w 21471"/>
                  <a:gd name="T5" fmla="*/ 10800 h 21600"/>
                  <a:gd name="T6" fmla="*/ 10735 w 21471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471" h="21600">
                    <a:moveTo>
                      <a:pt x="0" y="14987"/>
                    </a:moveTo>
                    <a:lnTo>
                      <a:pt x="0" y="11020"/>
                    </a:lnTo>
                    <a:cubicBezTo>
                      <a:pt x="2961" y="7412"/>
                      <a:pt x="2894" y="9613"/>
                      <a:pt x="2894" y="7053"/>
                    </a:cubicBezTo>
                    <a:lnTo>
                      <a:pt x="4582" y="7053"/>
                    </a:lnTo>
                    <a:lnTo>
                      <a:pt x="7959" y="0"/>
                    </a:lnTo>
                    <a:lnTo>
                      <a:pt x="14712" y="0"/>
                    </a:lnTo>
                    <a:lnTo>
                      <a:pt x="14954" y="2644"/>
                    </a:lnTo>
                    <a:lnTo>
                      <a:pt x="20501" y="2644"/>
                    </a:lnTo>
                    <a:cubicBezTo>
                      <a:pt x="21599" y="5656"/>
                      <a:pt x="21466" y="4230"/>
                      <a:pt x="21466" y="6612"/>
                    </a:cubicBezTo>
                    <a:lnTo>
                      <a:pt x="19295" y="10579"/>
                    </a:lnTo>
                    <a:lnTo>
                      <a:pt x="19295" y="14546"/>
                    </a:lnTo>
                    <a:cubicBezTo>
                      <a:pt x="18732" y="14693"/>
                      <a:pt x="18151" y="14689"/>
                      <a:pt x="17607" y="14987"/>
                    </a:cubicBezTo>
                    <a:cubicBezTo>
                      <a:pt x="15850" y="15950"/>
                      <a:pt x="17441" y="15869"/>
                      <a:pt x="16642" y="15869"/>
                    </a:cubicBezTo>
                    <a:cubicBezTo>
                      <a:pt x="16084" y="17230"/>
                      <a:pt x="15844" y="17425"/>
                      <a:pt x="15677" y="18955"/>
                    </a:cubicBezTo>
                    <a:cubicBezTo>
                      <a:pt x="15646" y="19243"/>
                      <a:pt x="15677" y="19542"/>
                      <a:pt x="15677" y="19836"/>
                    </a:cubicBezTo>
                    <a:cubicBezTo>
                      <a:pt x="15275" y="20277"/>
                      <a:pt x="14890" y="20776"/>
                      <a:pt x="14471" y="21159"/>
                    </a:cubicBezTo>
                    <a:cubicBezTo>
                      <a:pt x="14244" y="21367"/>
                      <a:pt x="13748" y="21600"/>
                      <a:pt x="13748" y="21600"/>
                    </a:cubicBezTo>
                    <a:cubicBezTo>
                      <a:pt x="9814" y="20162"/>
                      <a:pt x="11360" y="20277"/>
                      <a:pt x="9165" y="20277"/>
                    </a:cubicBezTo>
                    <a:lnTo>
                      <a:pt x="0" y="1498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3" name="AutoShape 81"/>
              <p:cNvSpPr>
                <a:spLocks/>
              </p:cNvSpPr>
              <p:nvPr/>
            </p:nvSpPr>
            <p:spPr bwMode="auto">
              <a:xfrm>
                <a:off x="406782" y="800812"/>
                <a:ext cx="47625" cy="5077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15096"/>
                    </a:moveTo>
                    <a:cubicBezTo>
                      <a:pt x="3540" y="17699"/>
                      <a:pt x="3475" y="16273"/>
                      <a:pt x="3475" y="17883"/>
                    </a:cubicBezTo>
                    <a:lnTo>
                      <a:pt x="3475" y="20206"/>
                    </a:lnTo>
                    <a:lnTo>
                      <a:pt x="5462" y="21135"/>
                    </a:lnTo>
                    <a:lnTo>
                      <a:pt x="8441" y="21599"/>
                    </a:lnTo>
                    <a:lnTo>
                      <a:pt x="7944" y="17419"/>
                    </a:lnTo>
                    <a:cubicBezTo>
                      <a:pt x="13889" y="19353"/>
                      <a:pt x="13655" y="21162"/>
                      <a:pt x="13655" y="18580"/>
                    </a:cubicBezTo>
                    <a:lnTo>
                      <a:pt x="13655" y="13935"/>
                    </a:lnTo>
                    <a:lnTo>
                      <a:pt x="21599" y="9754"/>
                    </a:lnTo>
                    <a:lnTo>
                      <a:pt x="21103" y="1858"/>
                    </a:lnTo>
                    <a:lnTo>
                      <a:pt x="17875" y="0"/>
                    </a:lnTo>
                    <a:cubicBezTo>
                      <a:pt x="16029" y="1974"/>
                      <a:pt x="16137" y="1035"/>
                      <a:pt x="16137" y="2322"/>
                    </a:cubicBezTo>
                    <a:lnTo>
                      <a:pt x="16634" y="3948"/>
                    </a:lnTo>
                    <a:lnTo>
                      <a:pt x="4965" y="7432"/>
                    </a:lnTo>
                    <a:lnTo>
                      <a:pt x="5958" y="8825"/>
                    </a:lnTo>
                    <a:lnTo>
                      <a:pt x="3972" y="11148"/>
                    </a:lnTo>
                    <a:cubicBezTo>
                      <a:pt x="3641" y="11883"/>
                      <a:pt x="2399" y="11883"/>
                      <a:pt x="1737" y="12541"/>
                    </a:cubicBezTo>
                    <a:cubicBezTo>
                      <a:pt x="1075" y="13200"/>
                      <a:pt x="82" y="14322"/>
                      <a:pt x="0" y="15096"/>
                    </a:cubicBez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4" name="AutoShape 82"/>
              <p:cNvSpPr>
                <a:spLocks/>
              </p:cNvSpPr>
              <p:nvPr/>
            </p:nvSpPr>
            <p:spPr bwMode="auto">
              <a:xfrm>
                <a:off x="397257" y="775426"/>
                <a:ext cx="58737" cy="4283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20232"/>
                    </a:moveTo>
                    <a:cubicBezTo>
                      <a:pt x="4029" y="19954"/>
                      <a:pt x="5286" y="19959"/>
                      <a:pt x="3765" y="19959"/>
                    </a:cubicBezTo>
                    <a:lnTo>
                      <a:pt x="4359" y="21599"/>
                    </a:lnTo>
                    <a:lnTo>
                      <a:pt x="7133" y="21599"/>
                    </a:lnTo>
                    <a:lnTo>
                      <a:pt x="16844" y="16678"/>
                    </a:lnTo>
                    <a:lnTo>
                      <a:pt x="16249" y="14491"/>
                    </a:lnTo>
                    <a:lnTo>
                      <a:pt x="17834" y="12030"/>
                    </a:lnTo>
                    <a:lnTo>
                      <a:pt x="20411" y="13944"/>
                    </a:lnTo>
                    <a:lnTo>
                      <a:pt x="20411" y="8749"/>
                    </a:lnTo>
                    <a:lnTo>
                      <a:pt x="21600" y="1640"/>
                    </a:lnTo>
                    <a:lnTo>
                      <a:pt x="16844" y="0"/>
                    </a:lnTo>
                    <a:lnTo>
                      <a:pt x="9908" y="5468"/>
                    </a:lnTo>
                    <a:lnTo>
                      <a:pt x="11691" y="11483"/>
                    </a:lnTo>
                    <a:lnTo>
                      <a:pt x="10700" y="12030"/>
                    </a:lnTo>
                    <a:lnTo>
                      <a:pt x="8124" y="11756"/>
                    </a:lnTo>
                    <a:lnTo>
                      <a:pt x="6539" y="7108"/>
                    </a:lnTo>
                    <a:lnTo>
                      <a:pt x="3963" y="11210"/>
                    </a:lnTo>
                    <a:lnTo>
                      <a:pt x="3765" y="14491"/>
                    </a:lnTo>
                    <a:lnTo>
                      <a:pt x="0" y="2023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5" name="AutoShape 83"/>
              <p:cNvSpPr>
                <a:spLocks/>
              </p:cNvSpPr>
              <p:nvPr/>
            </p:nvSpPr>
            <p:spPr bwMode="auto">
              <a:xfrm>
                <a:off x="433769" y="754800"/>
                <a:ext cx="28575" cy="25386"/>
              </a:xfrm>
              <a:custGeom>
                <a:avLst/>
                <a:gdLst>
                  <a:gd name="T0" fmla="+- 0 10818 37"/>
                  <a:gd name="T1" fmla="*/ T0 w 21563"/>
                  <a:gd name="T2" fmla="*/ 10800 h 21600"/>
                  <a:gd name="T3" fmla="+- 0 10818 37"/>
                  <a:gd name="T4" fmla="*/ T3 w 21563"/>
                  <a:gd name="T5" fmla="*/ 10800 h 21600"/>
                  <a:gd name="T6" fmla="+- 0 10818 37"/>
                  <a:gd name="T7" fmla="*/ T6 w 21563"/>
                  <a:gd name="T8" fmla="*/ 10800 h 21600"/>
                  <a:gd name="T9" fmla="+- 0 10818 37"/>
                  <a:gd name="T10" fmla="*/ T9 w 21563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1563" h="21600">
                    <a:moveTo>
                      <a:pt x="11799" y="18654"/>
                    </a:moveTo>
                    <a:cubicBezTo>
                      <a:pt x="7193" y="17138"/>
                      <a:pt x="5777" y="17181"/>
                      <a:pt x="7730" y="17181"/>
                    </a:cubicBezTo>
                    <a:lnTo>
                      <a:pt x="1221" y="21599"/>
                    </a:lnTo>
                    <a:cubicBezTo>
                      <a:pt x="787" y="15835"/>
                      <a:pt x="1484" y="17816"/>
                      <a:pt x="408" y="15218"/>
                    </a:cubicBezTo>
                    <a:cubicBezTo>
                      <a:pt x="-37" y="11457"/>
                      <a:pt x="1" y="12938"/>
                      <a:pt x="1" y="10800"/>
                    </a:cubicBezTo>
                    <a:cubicBezTo>
                      <a:pt x="543" y="9818"/>
                      <a:pt x="984" y="8742"/>
                      <a:pt x="1628" y="7854"/>
                    </a:cubicBezTo>
                    <a:cubicBezTo>
                      <a:pt x="1950" y="7410"/>
                      <a:pt x="2848" y="6872"/>
                      <a:pt x="2848" y="6872"/>
                    </a:cubicBezTo>
                    <a:lnTo>
                      <a:pt x="3662" y="3436"/>
                    </a:lnTo>
                    <a:lnTo>
                      <a:pt x="8137" y="0"/>
                    </a:lnTo>
                    <a:lnTo>
                      <a:pt x="21563" y="5890"/>
                    </a:lnTo>
                    <a:cubicBezTo>
                      <a:pt x="19449" y="11501"/>
                      <a:pt x="20687" y="12688"/>
                      <a:pt x="19121" y="10800"/>
                    </a:cubicBezTo>
                    <a:lnTo>
                      <a:pt x="12612" y="7854"/>
                    </a:lnTo>
                    <a:lnTo>
                      <a:pt x="11799" y="1865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6" name="AutoShape 84"/>
              <p:cNvSpPr>
                <a:spLocks/>
              </p:cNvSpPr>
              <p:nvPr/>
            </p:nvSpPr>
            <p:spPr bwMode="auto">
              <a:xfrm>
                <a:off x="236919" y="1065779"/>
                <a:ext cx="22225" cy="3173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11544"/>
                    </a:moveTo>
                    <a:lnTo>
                      <a:pt x="9257" y="6330"/>
                    </a:lnTo>
                    <a:lnTo>
                      <a:pt x="10799" y="372"/>
                    </a:lnTo>
                    <a:lnTo>
                      <a:pt x="14914" y="0"/>
                    </a:lnTo>
                    <a:lnTo>
                      <a:pt x="21599" y="7075"/>
                    </a:lnTo>
                    <a:lnTo>
                      <a:pt x="19028" y="9682"/>
                    </a:lnTo>
                    <a:lnTo>
                      <a:pt x="13885" y="21600"/>
                    </a:lnTo>
                    <a:lnTo>
                      <a:pt x="0" y="1154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7" name="AutoShape 88"/>
              <p:cNvSpPr>
                <a:spLocks/>
              </p:cNvSpPr>
              <p:nvPr/>
            </p:nvSpPr>
            <p:spPr bwMode="auto">
              <a:xfrm>
                <a:off x="529019" y="1084819"/>
                <a:ext cx="47625" cy="4601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371" y="0"/>
                    </a:moveTo>
                    <a:lnTo>
                      <a:pt x="13371" y="1963"/>
                    </a:lnTo>
                    <a:lnTo>
                      <a:pt x="18514" y="6872"/>
                    </a:lnTo>
                    <a:lnTo>
                      <a:pt x="21599" y="10800"/>
                    </a:lnTo>
                    <a:lnTo>
                      <a:pt x="20571" y="10800"/>
                    </a:lnTo>
                    <a:lnTo>
                      <a:pt x="20571" y="11781"/>
                    </a:lnTo>
                    <a:lnTo>
                      <a:pt x="19542" y="13745"/>
                    </a:lnTo>
                    <a:lnTo>
                      <a:pt x="18514" y="14727"/>
                    </a:lnTo>
                    <a:lnTo>
                      <a:pt x="15428" y="14727"/>
                    </a:lnTo>
                    <a:lnTo>
                      <a:pt x="14400" y="15709"/>
                    </a:lnTo>
                    <a:lnTo>
                      <a:pt x="11314" y="15709"/>
                    </a:lnTo>
                    <a:lnTo>
                      <a:pt x="6171" y="20618"/>
                    </a:lnTo>
                    <a:lnTo>
                      <a:pt x="5142" y="20618"/>
                    </a:lnTo>
                    <a:lnTo>
                      <a:pt x="4114" y="21599"/>
                    </a:lnTo>
                    <a:lnTo>
                      <a:pt x="0" y="21599"/>
                    </a:lnTo>
                    <a:lnTo>
                      <a:pt x="1028" y="17672"/>
                    </a:lnTo>
                    <a:lnTo>
                      <a:pt x="1028" y="9818"/>
                    </a:lnTo>
                    <a:lnTo>
                      <a:pt x="2057" y="7854"/>
                    </a:lnTo>
                    <a:lnTo>
                      <a:pt x="2057" y="5890"/>
                    </a:lnTo>
                    <a:lnTo>
                      <a:pt x="6171" y="1963"/>
                    </a:lnTo>
                    <a:lnTo>
                      <a:pt x="7200" y="1963"/>
                    </a:lnTo>
                    <a:lnTo>
                      <a:pt x="8228" y="981"/>
                    </a:lnTo>
                    <a:lnTo>
                      <a:pt x="10285" y="0"/>
                    </a:lnTo>
                    <a:lnTo>
                      <a:pt x="13371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8" name="AutoShape 90"/>
              <p:cNvSpPr>
                <a:spLocks/>
              </p:cNvSpPr>
              <p:nvPr/>
            </p:nvSpPr>
            <p:spPr bwMode="auto">
              <a:xfrm>
                <a:off x="538544" y="957888"/>
                <a:ext cx="34925" cy="50772"/>
              </a:xfrm>
              <a:custGeom>
                <a:avLst/>
                <a:gdLst>
                  <a:gd name="T0" fmla="+- 0 10512 47"/>
                  <a:gd name="T1" fmla="*/ T0 w 20931"/>
                  <a:gd name="T2" fmla="*/ 10800 h 21600"/>
                  <a:gd name="T3" fmla="+- 0 10512 47"/>
                  <a:gd name="T4" fmla="*/ T3 w 20931"/>
                  <a:gd name="T5" fmla="*/ 10800 h 21600"/>
                  <a:gd name="T6" fmla="+- 0 10512 47"/>
                  <a:gd name="T7" fmla="*/ T6 w 20931"/>
                  <a:gd name="T8" fmla="*/ 10800 h 21600"/>
                  <a:gd name="T9" fmla="+- 0 10512 47"/>
                  <a:gd name="T10" fmla="*/ T9 w 20931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0931" h="21600">
                    <a:moveTo>
                      <a:pt x="1315" y="8129"/>
                    </a:moveTo>
                    <a:cubicBezTo>
                      <a:pt x="-32" y="5035"/>
                      <a:pt x="0" y="6162"/>
                      <a:pt x="0" y="4877"/>
                    </a:cubicBezTo>
                    <a:cubicBezTo>
                      <a:pt x="1021" y="1751"/>
                      <a:pt x="-47" y="2588"/>
                      <a:pt x="1315" y="1625"/>
                    </a:cubicBezTo>
                    <a:lnTo>
                      <a:pt x="2631" y="0"/>
                    </a:lnTo>
                    <a:lnTo>
                      <a:pt x="11510" y="2090"/>
                    </a:lnTo>
                    <a:lnTo>
                      <a:pt x="16443" y="5806"/>
                    </a:lnTo>
                    <a:lnTo>
                      <a:pt x="16443" y="7664"/>
                    </a:lnTo>
                    <a:lnTo>
                      <a:pt x="19402" y="10916"/>
                    </a:lnTo>
                    <a:lnTo>
                      <a:pt x="18416" y="13470"/>
                    </a:lnTo>
                    <a:cubicBezTo>
                      <a:pt x="20818" y="14198"/>
                      <a:pt x="21553" y="14167"/>
                      <a:pt x="20389" y="14167"/>
                    </a:cubicBezTo>
                    <a:lnTo>
                      <a:pt x="20060" y="18812"/>
                    </a:lnTo>
                    <a:lnTo>
                      <a:pt x="13483" y="21599"/>
                    </a:lnTo>
                    <a:lnTo>
                      <a:pt x="8221" y="21135"/>
                    </a:lnTo>
                    <a:cubicBezTo>
                      <a:pt x="8335" y="18890"/>
                      <a:pt x="8550" y="16646"/>
                      <a:pt x="8550" y="14399"/>
                    </a:cubicBezTo>
                    <a:cubicBezTo>
                      <a:pt x="6493" y="13189"/>
                      <a:pt x="7433" y="13238"/>
                      <a:pt x="6248" y="13238"/>
                    </a:cubicBezTo>
                    <a:lnTo>
                      <a:pt x="1315" y="812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69" name="AutoShape 91"/>
              <p:cNvSpPr>
                <a:spLocks/>
              </p:cNvSpPr>
              <p:nvPr/>
            </p:nvSpPr>
            <p:spPr bwMode="auto">
              <a:xfrm>
                <a:off x="387732" y="1040393"/>
                <a:ext cx="41275" cy="39665"/>
              </a:xfrm>
              <a:custGeom>
                <a:avLst/>
                <a:gdLst>
                  <a:gd name="T0" fmla="*/ 9713 w 19426"/>
                  <a:gd name="T1" fmla="*/ 10725 h 21451"/>
                  <a:gd name="T2" fmla="*/ 9713 w 19426"/>
                  <a:gd name="T3" fmla="*/ 10725 h 21451"/>
                  <a:gd name="T4" fmla="*/ 9713 w 19426"/>
                  <a:gd name="T5" fmla="*/ 10725 h 21451"/>
                  <a:gd name="T6" fmla="*/ 9713 w 19426"/>
                  <a:gd name="T7" fmla="*/ 10725 h 21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426" h="21451">
                    <a:moveTo>
                      <a:pt x="16164" y="0"/>
                    </a:moveTo>
                    <a:cubicBezTo>
                      <a:pt x="17945" y="12716"/>
                      <a:pt x="21600" y="12620"/>
                      <a:pt x="17679" y="12620"/>
                    </a:cubicBezTo>
                    <a:lnTo>
                      <a:pt x="16416" y="17316"/>
                    </a:lnTo>
                    <a:cubicBezTo>
                      <a:pt x="14901" y="18685"/>
                      <a:pt x="13537" y="20318"/>
                      <a:pt x="11870" y="21424"/>
                    </a:cubicBezTo>
                    <a:cubicBezTo>
                      <a:pt x="11607" y="21599"/>
                      <a:pt x="11112" y="20837"/>
                      <a:pt x="11112" y="20837"/>
                    </a:cubicBezTo>
                    <a:lnTo>
                      <a:pt x="7829" y="17609"/>
                    </a:lnTo>
                    <a:lnTo>
                      <a:pt x="4546" y="17316"/>
                    </a:lnTo>
                    <a:lnTo>
                      <a:pt x="4546" y="15848"/>
                    </a:lnTo>
                    <a:lnTo>
                      <a:pt x="5303" y="16435"/>
                    </a:lnTo>
                    <a:lnTo>
                      <a:pt x="0" y="3521"/>
                    </a:lnTo>
                    <a:cubicBezTo>
                      <a:pt x="1328" y="2286"/>
                      <a:pt x="723" y="2347"/>
                      <a:pt x="1515" y="2347"/>
                    </a:cubicBezTo>
                    <a:cubicBezTo>
                      <a:pt x="4863" y="5639"/>
                      <a:pt x="4798" y="3910"/>
                      <a:pt x="4798" y="5869"/>
                    </a:cubicBezTo>
                    <a:lnTo>
                      <a:pt x="16164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70" name="AutoShape 92"/>
              <p:cNvSpPr>
                <a:spLocks/>
              </p:cNvSpPr>
              <p:nvPr/>
            </p:nvSpPr>
            <p:spPr bwMode="auto">
              <a:xfrm>
                <a:off x="773495" y="1129244"/>
                <a:ext cx="44450" cy="41252"/>
              </a:xfrm>
              <a:custGeom>
                <a:avLst/>
                <a:gdLst>
                  <a:gd name="T0" fmla="*/ 10800 w 21600"/>
                  <a:gd name="T1" fmla="+- 0 10845 90"/>
                  <a:gd name="T2" fmla="*/ 10845 h 21510"/>
                  <a:gd name="T3" fmla="*/ 10800 w 21600"/>
                  <a:gd name="T4" fmla="+- 0 10845 90"/>
                  <a:gd name="T5" fmla="*/ 10845 h 21510"/>
                  <a:gd name="T6" fmla="*/ 10800 w 21600"/>
                  <a:gd name="T7" fmla="+- 0 10845 90"/>
                  <a:gd name="T8" fmla="*/ 10845 h 21510"/>
                  <a:gd name="T9" fmla="*/ 10800 w 21600"/>
                  <a:gd name="T10" fmla="+- 0 10845 90"/>
                  <a:gd name="T11" fmla="*/ 10845 h 21510"/>
                </a:gdLst>
                <a:ahLst/>
                <a:cxnLst>
                  <a:cxn ang="0">
                    <a:pos x="T0" y="T2"/>
                  </a:cxn>
                  <a:cxn ang="0">
                    <a:pos x="T3" y="T5"/>
                  </a:cxn>
                  <a:cxn ang="0">
                    <a:pos x="T6" y="T8"/>
                  </a:cxn>
                  <a:cxn ang="0">
                    <a:pos x="T9" y="T11"/>
                  </a:cxn>
                </a:cxnLst>
                <a:rect l="0" t="0" r="r" b="b"/>
                <a:pathLst>
                  <a:path w="21600" h="21510">
                    <a:moveTo>
                      <a:pt x="0" y="5522"/>
                    </a:moveTo>
                    <a:lnTo>
                      <a:pt x="3085" y="11627"/>
                    </a:lnTo>
                    <a:lnTo>
                      <a:pt x="4628" y="17731"/>
                    </a:lnTo>
                    <a:cubicBezTo>
                      <a:pt x="10401" y="15654"/>
                      <a:pt x="8886" y="14114"/>
                      <a:pt x="10542" y="15987"/>
                    </a:cubicBezTo>
                    <a:lnTo>
                      <a:pt x="21599" y="21510"/>
                    </a:lnTo>
                    <a:cubicBezTo>
                      <a:pt x="16674" y="10959"/>
                      <a:pt x="20203" y="11045"/>
                      <a:pt x="16457" y="11045"/>
                    </a:cubicBezTo>
                    <a:lnTo>
                      <a:pt x="9514" y="2906"/>
                    </a:lnTo>
                    <a:cubicBezTo>
                      <a:pt x="8453" y="-90"/>
                      <a:pt x="9408" y="-1"/>
                      <a:pt x="8228" y="-1"/>
                    </a:cubicBezTo>
                    <a:lnTo>
                      <a:pt x="0" y="552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71" name="AutoShape 93"/>
              <p:cNvSpPr>
                <a:spLocks/>
              </p:cNvSpPr>
              <p:nvPr/>
            </p:nvSpPr>
            <p:spPr bwMode="auto">
              <a:xfrm>
                <a:off x="790958" y="1091165"/>
                <a:ext cx="76200" cy="77744"/>
              </a:xfrm>
              <a:custGeom>
                <a:avLst/>
                <a:gdLst>
                  <a:gd name="T0" fmla="*/ 10569 w 21138"/>
                  <a:gd name="T1" fmla="*/ 10800 h 21600"/>
                  <a:gd name="T2" fmla="*/ 10569 w 21138"/>
                  <a:gd name="T3" fmla="*/ 10800 h 21600"/>
                  <a:gd name="T4" fmla="*/ 10569 w 21138"/>
                  <a:gd name="T5" fmla="*/ 10800 h 21600"/>
                  <a:gd name="T6" fmla="*/ 10569 w 21138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138" h="21600">
                    <a:moveTo>
                      <a:pt x="0" y="11026"/>
                    </a:moveTo>
                    <a:lnTo>
                      <a:pt x="4590" y="16615"/>
                    </a:lnTo>
                    <a:lnTo>
                      <a:pt x="6071" y="16615"/>
                    </a:lnTo>
                    <a:lnTo>
                      <a:pt x="6219" y="18276"/>
                    </a:lnTo>
                    <a:lnTo>
                      <a:pt x="7700" y="21599"/>
                    </a:lnTo>
                    <a:lnTo>
                      <a:pt x="11403" y="17974"/>
                    </a:lnTo>
                    <a:lnTo>
                      <a:pt x="14957" y="20391"/>
                    </a:lnTo>
                    <a:lnTo>
                      <a:pt x="15697" y="11479"/>
                    </a:lnTo>
                    <a:lnTo>
                      <a:pt x="20288" y="12083"/>
                    </a:lnTo>
                    <a:cubicBezTo>
                      <a:pt x="20894" y="9920"/>
                      <a:pt x="21599" y="9969"/>
                      <a:pt x="20733" y="9969"/>
                    </a:cubicBezTo>
                    <a:lnTo>
                      <a:pt x="15549" y="6646"/>
                    </a:lnTo>
                    <a:lnTo>
                      <a:pt x="16882" y="906"/>
                    </a:lnTo>
                    <a:lnTo>
                      <a:pt x="13180" y="0"/>
                    </a:lnTo>
                    <a:cubicBezTo>
                      <a:pt x="13130" y="1258"/>
                      <a:pt x="13081" y="2517"/>
                      <a:pt x="13032" y="3776"/>
                    </a:cubicBezTo>
                    <a:lnTo>
                      <a:pt x="11699" y="4682"/>
                    </a:lnTo>
                    <a:lnTo>
                      <a:pt x="11551" y="6646"/>
                    </a:lnTo>
                    <a:lnTo>
                      <a:pt x="8293" y="4380"/>
                    </a:lnTo>
                    <a:lnTo>
                      <a:pt x="5183" y="4380"/>
                    </a:lnTo>
                    <a:lnTo>
                      <a:pt x="5923" y="8458"/>
                    </a:lnTo>
                    <a:lnTo>
                      <a:pt x="0" y="1102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72" name="AutoShape 94"/>
              <p:cNvSpPr>
                <a:spLocks/>
              </p:cNvSpPr>
              <p:nvPr/>
            </p:nvSpPr>
            <p:spPr bwMode="auto">
              <a:xfrm>
                <a:off x="740158" y="1083232"/>
                <a:ext cx="73025" cy="5711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920" y="21599"/>
                    </a:moveTo>
                    <a:lnTo>
                      <a:pt x="7520" y="18454"/>
                    </a:lnTo>
                    <a:cubicBezTo>
                      <a:pt x="4111" y="16539"/>
                      <a:pt x="5378" y="16566"/>
                      <a:pt x="4000" y="16566"/>
                    </a:cubicBezTo>
                    <a:cubicBezTo>
                      <a:pt x="3946" y="16287"/>
                      <a:pt x="3961" y="15967"/>
                      <a:pt x="3839" y="15728"/>
                    </a:cubicBezTo>
                    <a:cubicBezTo>
                      <a:pt x="3733" y="15518"/>
                      <a:pt x="3360" y="15308"/>
                      <a:pt x="3360" y="15308"/>
                    </a:cubicBezTo>
                    <a:cubicBezTo>
                      <a:pt x="2028" y="15745"/>
                      <a:pt x="2080" y="16304"/>
                      <a:pt x="2080" y="15518"/>
                    </a:cubicBezTo>
                    <a:lnTo>
                      <a:pt x="1760" y="14260"/>
                    </a:lnTo>
                    <a:lnTo>
                      <a:pt x="0" y="14260"/>
                    </a:lnTo>
                    <a:lnTo>
                      <a:pt x="2400" y="11533"/>
                    </a:lnTo>
                    <a:lnTo>
                      <a:pt x="2080" y="5871"/>
                    </a:lnTo>
                    <a:lnTo>
                      <a:pt x="6240" y="5662"/>
                    </a:lnTo>
                    <a:lnTo>
                      <a:pt x="8319" y="7968"/>
                    </a:lnTo>
                    <a:cubicBezTo>
                      <a:pt x="8997" y="7080"/>
                      <a:pt x="8658" y="7130"/>
                      <a:pt x="9120" y="7130"/>
                    </a:cubicBezTo>
                    <a:lnTo>
                      <a:pt x="9120" y="5871"/>
                    </a:lnTo>
                    <a:lnTo>
                      <a:pt x="10879" y="5452"/>
                    </a:lnTo>
                    <a:lnTo>
                      <a:pt x="12000" y="3145"/>
                    </a:lnTo>
                    <a:lnTo>
                      <a:pt x="12000" y="0"/>
                    </a:lnTo>
                    <a:lnTo>
                      <a:pt x="16800" y="0"/>
                    </a:lnTo>
                    <a:lnTo>
                      <a:pt x="15359" y="5662"/>
                    </a:lnTo>
                    <a:lnTo>
                      <a:pt x="20479" y="9017"/>
                    </a:lnTo>
                    <a:lnTo>
                      <a:pt x="21599" y="14469"/>
                    </a:lnTo>
                    <a:lnTo>
                      <a:pt x="14719" y="18244"/>
                    </a:lnTo>
                    <a:lnTo>
                      <a:pt x="9920" y="215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73" name="AutoShape 95"/>
              <p:cNvSpPr>
                <a:spLocks/>
              </p:cNvSpPr>
              <p:nvPr userDrawn="1"/>
            </p:nvSpPr>
            <p:spPr bwMode="auto">
              <a:xfrm>
                <a:off x="352807" y="1008661"/>
                <a:ext cx="76200" cy="60292"/>
              </a:xfrm>
              <a:custGeom>
                <a:avLst/>
                <a:gdLst>
                  <a:gd name="T0" fmla="*/ 10800 w 21600"/>
                  <a:gd name="T1" fmla="*/ 10256 h 20513"/>
                  <a:gd name="T2" fmla="*/ 10800 w 21600"/>
                  <a:gd name="T3" fmla="*/ 10256 h 20513"/>
                  <a:gd name="T4" fmla="*/ 10800 w 21600"/>
                  <a:gd name="T5" fmla="*/ 10256 h 20513"/>
                  <a:gd name="T6" fmla="*/ 10800 w 21600"/>
                  <a:gd name="T7" fmla="*/ 10256 h 20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0513">
                    <a:moveTo>
                      <a:pt x="19455" y="11704"/>
                    </a:moveTo>
                    <a:lnTo>
                      <a:pt x="21599" y="3511"/>
                    </a:lnTo>
                    <a:lnTo>
                      <a:pt x="15472" y="3511"/>
                    </a:lnTo>
                    <a:lnTo>
                      <a:pt x="14400" y="1560"/>
                    </a:lnTo>
                    <a:lnTo>
                      <a:pt x="14706" y="0"/>
                    </a:lnTo>
                    <a:lnTo>
                      <a:pt x="10723" y="2731"/>
                    </a:lnTo>
                    <a:lnTo>
                      <a:pt x="10723" y="5462"/>
                    </a:lnTo>
                    <a:lnTo>
                      <a:pt x="9497" y="8193"/>
                    </a:lnTo>
                    <a:lnTo>
                      <a:pt x="1378" y="7022"/>
                    </a:lnTo>
                    <a:lnTo>
                      <a:pt x="0" y="7998"/>
                    </a:lnTo>
                    <a:lnTo>
                      <a:pt x="459" y="9753"/>
                    </a:lnTo>
                    <a:cubicBezTo>
                      <a:pt x="1409" y="11366"/>
                      <a:pt x="1889" y="11314"/>
                      <a:pt x="1225" y="11314"/>
                    </a:cubicBezTo>
                    <a:cubicBezTo>
                      <a:pt x="6166" y="16819"/>
                      <a:pt x="6127" y="14011"/>
                      <a:pt x="6127" y="16971"/>
                    </a:cubicBezTo>
                    <a:lnTo>
                      <a:pt x="6893" y="15605"/>
                    </a:lnTo>
                    <a:cubicBezTo>
                      <a:pt x="9237" y="16999"/>
                      <a:pt x="9191" y="15895"/>
                      <a:pt x="9191" y="17166"/>
                    </a:cubicBezTo>
                    <a:cubicBezTo>
                      <a:pt x="11027" y="16741"/>
                      <a:pt x="13190" y="21599"/>
                      <a:pt x="13190" y="20287"/>
                    </a:cubicBezTo>
                    <a:cubicBezTo>
                      <a:pt x="12253" y="17105"/>
                      <a:pt x="9957" y="14181"/>
                      <a:pt x="9957" y="12874"/>
                    </a:cubicBezTo>
                    <a:lnTo>
                      <a:pt x="10876" y="12094"/>
                    </a:lnTo>
                    <a:cubicBezTo>
                      <a:pt x="12615" y="14107"/>
                      <a:pt x="12024" y="13361"/>
                      <a:pt x="12714" y="14240"/>
                    </a:cubicBezTo>
                    <a:lnTo>
                      <a:pt x="19455" y="1170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  <p:sp>
            <p:nvSpPr>
              <p:cNvPr id="174" name="AutoShape 97"/>
              <p:cNvSpPr>
                <a:spLocks/>
              </p:cNvSpPr>
              <p:nvPr/>
            </p:nvSpPr>
            <p:spPr bwMode="auto">
              <a:xfrm>
                <a:off x="332169" y="994380"/>
                <a:ext cx="73025" cy="3966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14602"/>
                    </a:moveTo>
                    <a:lnTo>
                      <a:pt x="4159" y="18253"/>
                    </a:lnTo>
                    <a:cubicBezTo>
                      <a:pt x="6154" y="18885"/>
                      <a:pt x="5621" y="17989"/>
                      <a:pt x="6240" y="19166"/>
                    </a:cubicBezTo>
                    <a:lnTo>
                      <a:pt x="6559" y="20383"/>
                    </a:lnTo>
                    <a:lnTo>
                      <a:pt x="7679" y="19166"/>
                    </a:lnTo>
                    <a:lnTo>
                      <a:pt x="15999" y="21600"/>
                    </a:lnTo>
                    <a:lnTo>
                      <a:pt x="17439" y="17036"/>
                    </a:lnTo>
                    <a:lnTo>
                      <a:pt x="17439" y="12169"/>
                    </a:lnTo>
                    <a:lnTo>
                      <a:pt x="21599" y="9430"/>
                    </a:lnTo>
                    <a:lnTo>
                      <a:pt x="21599" y="7605"/>
                    </a:lnTo>
                    <a:lnTo>
                      <a:pt x="19519" y="0"/>
                    </a:lnTo>
                    <a:lnTo>
                      <a:pt x="17919" y="2738"/>
                    </a:lnTo>
                    <a:lnTo>
                      <a:pt x="18559" y="5171"/>
                    </a:lnTo>
                    <a:lnTo>
                      <a:pt x="10399" y="6388"/>
                    </a:lnTo>
                    <a:lnTo>
                      <a:pt x="0" y="1460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solidFill>
                    <a:srgbClr val="FFFFFF"/>
                  </a:solidFill>
                  <a:cs typeface="Calibri" charset="0"/>
                </a:endParaRPr>
              </a:p>
            </p:txBody>
          </p:sp>
        </p:grpSp>
        <p:grpSp>
          <p:nvGrpSpPr>
            <p:cNvPr id="6" name="Group 99"/>
            <p:cNvGrpSpPr>
              <a:grpSpLocks/>
            </p:cNvGrpSpPr>
            <p:nvPr/>
          </p:nvGrpSpPr>
          <p:grpSpPr bwMode="auto">
            <a:xfrm>
              <a:off x="2953114" y="3861322"/>
              <a:ext cx="1863880" cy="2996678"/>
              <a:chOff x="-1" y="-1"/>
              <a:chExt cx="867565" cy="1288479"/>
            </a:xfrm>
            <a:grpFill/>
          </p:grpSpPr>
          <p:sp>
            <p:nvSpPr>
              <p:cNvPr id="106" name="AutoShape 100"/>
              <p:cNvSpPr>
                <a:spLocks/>
              </p:cNvSpPr>
              <p:nvPr/>
            </p:nvSpPr>
            <p:spPr bwMode="auto">
              <a:xfrm>
                <a:off x="311160" y="396793"/>
                <a:ext cx="200025" cy="21260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10164"/>
                    </a:moveTo>
                    <a:lnTo>
                      <a:pt x="245" y="9952"/>
                    </a:lnTo>
                    <a:lnTo>
                      <a:pt x="490" y="9952"/>
                    </a:lnTo>
                    <a:lnTo>
                      <a:pt x="981" y="9529"/>
                    </a:lnTo>
                    <a:lnTo>
                      <a:pt x="1472" y="9317"/>
                    </a:lnTo>
                    <a:lnTo>
                      <a:pt x="2209" y="9105"/>
                    </a:lnTo>
                    <a:lnTo>
                      <a:pt x="2700" y="8894"/>
                    </a:lnTo>
                    <a:lnTo>
                      <a:pt x="2945" y="8894"/>
                    </a:lnTo>
                    <a:lnTo>
                      <a:pt x="3436" y="8470"/>
                    </a:lnTo>
                    <a:lnTo>
                      <a:pt x="3436" y="7835"/>
                    </a:lnTo>
                    <a:lnTo>
                      <a:pt x="3190" y="7411"/>
                    </a:lnTo>
                    <a:lnTo>
                      <a:pt x="3190" y="7199"/>
                    </a:lnTo>
                    <a:lnTo>
                      <a:pt x="2945" y="7199"/>
                    </a:lnTo>
                    <a:lnTo>
                      <a:pt x="2945" y="5505"/>
                    </a:lnTo>
                    <a:lnTo>
                      <a:pt x="3190" y="5082"/>
                    </a:lnTo>
                    <a:lnTo>
                      <a:pt x="3190" y="4870"/>
                    </a:lnTo>
                    <a:lnTo>
                      <a:pt x="3436" y="4658"/>
                    </a:lnTo>
                    <a:lnTo>
                      <a:pt x="3436" y="4235"/>
                    </a:lnTo>
                    <a:lnTo>
                      <a:pt x="3190" y="4023"/>
                    </a:lnTo>
                    <a:lnTo>
                      <a:pt x="3190" y="3811"/>
                    </a:lnTo>
                    <a:lnTo>
                      <a:pt x="1963" y="2117"/>
                    </a:lnTo>
                    <a:lnTo>
                      <a:pt x="4172" y="1905"/>
                    </a:lnTo>
                    <a:lnTo>
                      <a:pt x="4663" y="1905"/>
                    </a:lnTo>
                    <a:lnTo>
                      <a:pt x="5154" y="1694"/>
                    </a:lnTo>
                    <a:lnTo>
                      <a:pt x="5400" y="1270"/>
                    </a:lnTo>
                    <a:lnTo>
                      <a:pt x="5890" y="847"/>
                    </a:lnTo>
                    <a:lnTo>
                      <a:pt x="6381" y="635"/>
                    </a:lnTo>
                    <a:lnTo>
                      <a:pt x="6627" y="423"/>
                    </a:lnTo>
                    <a:lnTo>
                      <a:pt x="7118" y="423"/>
                    </a:lnTo>
                    <a:lnTo>
                      <a:pt x="7363" y="635"/>
                    </a:lnTo>
                    <a:lnTo>
                      <a:pt x="7854" y="635"/>
                    </a:lnTo>
                    <a:lnTo>
                      <a:pt x="8100" y="423"/>
                    </a:lnTo>
                    <a:lnTo>
                      <a:pt x="8100" y="211"/>
                    </a:lnTo>
                    <a:lnTo>
                      <a:pt x="8345" y="0"/>
                    </a:lnTo>
                    <a:lnTo>
                      <a:pt x="8836" y="0"/>
                    </a:lnTo>
                    <a:lnTo>
                      <a:pt x="9081" y="211"/>
                    </a:lnTo>
                    <a:lnTo>
                      <a:pt x="9081" y="635"/>
                    </a:lnTo>
                    <a:lnTo>
                      <a:pt x="8836" y="1058"/>
                    </a:lnTo>
                    <a:lnTo>
                      <a:pt x="8836" y="2117"/>
                    </a:lnTo>
                    <a:lnTo>
                      <a:pt x="9327" y="3388"/>
                    </a:lnTo>
                    <a:lnTo>
                      <a:pt x="10554" y="4447"/>
                    </a:lnTo>
                    <a:lnTo>
                      <a:pt x="12027" y="4870"/>
                    </a:lnTo>
                    <a:lnTo>
                      <a:pt x="13254" y="4658"/>
                    </a:lnTo>
                    <a:lnTo>
                      <a:pt x="13254" y="4870"/>
                    </a:lnTo>
                    <a:lnTo>
                      <a:pt x="13499" y="5082"/>
                    </a:lnTo>
                    <a:lnTo>
                      <a:pt x="13990" y="5929"/>
                    </a:lnTo>
                    <a:lnTo>
                      <a:pt x="14481" y="6352"/>
                    </a:lnTo>
                    <a:lnTo>
                      <a:pt x="15218" y="6564"/>
                    </a:lnTo>
                    <a:lnTo>
                      <a:pt x="15709" y="6988"/>
                    </a:lnTo>
                    <a:lnTo>
                      <a:pt x="16200" y="7199"/>
                    </a:lnTo>
                    <a:lnTo>
                      <a:pt x="16690" y="7623"/>
                    </a:lnTo>
                    <a:lnTo>
                      <a:pt x="17181" y="8258"/>
                    </a:lnTo>
                    <a:lnTo>
                      <a:pt x="17427" y="8682"/>
                    </a:lnTo>
                    <a:lnTo>
                      <a:pt x="17672" y="9317"/>
                    </a:lnTo>
                    <a:lnTo>
                      <a:pt x="20372" y="9529"/>
                    </a:lnTo>
                    <a:lnTo>
                      <a:pt x="20372" y="10800"/>
                    </a:lnTo>
                    <a:lnTo>
                      <a:pt x="20863" y="11223"/>
                    </a:lnTo>
                    <a:lnTo>
                      <a:pt x="21109" y="11223"/>
                    </a:lnTo>
                    <a:lnTo>
                      <a:pt x="21354" y="11435"/>
                    </a:lnTo>
                    <a:lnTo>
                      <a:pt x="21599" y="11858"/>
                    </a:lnTo>
                    <a:lnTo>
                      <a:pt x="21599" y="15247"/>
                    </a:lnTo>
                    <a:lnTo>
                      <a:pt x="21354" y="16517"/>
                    </a:lnTo>
                    <a:lnTo>
                      <a:pt x="21109" y="17152"/>
                    </a:lnTo>
                    <a:lnTo>
                      <a:pt x="19881" y="16094"/>
                    </a:lnTo>
                    <a:lnTo>
                      <a:pt x="18409" y="15670"/>
                    </a:lnTo>
                    <a:lnTo>
                      <a:pt x="16690" y="15670"/>
                    </a:lnTo>
                    <a:lnTo>
                      <a:pt x="16200" y="15882"/>
                    </a:lnTo>
                    <a:lnTo>
                      <a:pt x="15463" y="16729"/>
                    </a:lnTo>
                    <a:lnTo>
                      <a:pt x="14236" y="17788"/>
                    </a:lnTo>
                    <a:lnTo>
                      <a:pt x="13254" y="20329"/>
                    </a:lnTo>
                    <a:lnTo>
                      <a:pt x="13254" y="20117"/>
                    </a:lnTo>
                    <a:lnTo>
                      <a:pt x="13009" y="20117"/>
                    </a:lnTo>
                    <a:lnTo>
                      <a:pt x="12518" y="19694"/>
                    </a:lnTo>
                    <a:lnTo>
                      <a:pt x="12027" y="19694"/>
                    </a:lnTo>
                    <a:lnTo>
                      <a:pt x="11536" y="19905"/>
                    </a:lnTo>
                    <a:lnTo>
                      <a:pt x="10800" y="20329"/>
                    </a:lnTo>
                    <a:lnTo>
                      <a:pt x="10309" y="21176"/>
                    </a:lnTo>
                    <a:lnTo>
                      <a:pt x="10063" y="20752"/>
                    </a:lnTo>
                    <a:lnTo>
                      <a:pt x="10063" y="20541"/>
                    </a:lnTo>
                    <a:lnTo>
                      <a:pt x="9818" y="20329"/>
                    </a:lnTo>
                    <a:lnTo>
                      <a:pt x="9572" y="19905"/>
                    </a:lnTo>
                    <a:lnTo>
                      <a:pt x="9327" y="19905"/>
                    </a:lnTo>
                    <a:lnTo>
                      <a:pt x="7118" y="19482"/>
                    </a:lnTo>
                    <a:lnTo>
                      <a:pt x="7118" y="19694"/>
                    </a:lnTo>
                    <a:lnTo>
                      <a:pt x="6872" y="19905"/>
                    </a:lnTo>
                    <a:lnTo>
                      <a:pt x="6627" y="20329"/>
                    </a:lnTo>
                    <a:lnTo>
                      <a:pt x="6381" y="20541"/>
                    </a:lnTo>
                    <a:lnTo>
                      <a:pt x="6136" y="20964"/>
                    </a:lnTo>
                    <a:lnTo>
                      <a:pt x="5890" y="20964"/>
                    </a:lnTo>
                    <a:lnTo>
                      <a:pt x="5645" y="21176"/>
                    </a:lnTo>
                    <a:lnTo>
                      <a:pt x="5645" y="21388"/>
                    </a:lnTo>
                    <a:lnTo>
                      <a:pt x="5400" y="21388"/>
                    </a:lnTo>
                    <a:lnTo>
                      <a:pt x="5154" y="21599"/>
                    </a:lnTo>
                    <a:lnTo>
                      <a:pt x="4909" y="21599"/>
                    </a:lnTo>
                    <a:lnTo>
                      <a:pt x="4663" y="21388"/>
                    </a:lnTo>
                    <a:lnTo>
                      <a:pt x="4172" y="19058"/>
                    </a:lnTo>
                    <a:lnTo>
                      <a:pt x="3681" y="16941"/>
                    </a:lnTo>
                    <a:lnTo>
                      <a:pt x="3681" y="15882"/>
                    </a:lnTo>
                    <a:lnTo>
                      <a:pt x="3436" y="15247"/>
                    </a:lnTo>
                    <a:lnTo>
                      <a:pt x="3190" y="14823"/>
                    </a:lnTo>
                    <a:lnTo>
                      <a:pt x="2945" y="14611"/>
                    </a:lnTo>
                    <a:lnTo>
                      <a:pt x="1472" y="12917"/>
                    </a:lnTo>
                    <a:lnTo>
                      <a:pt x="1472" y="12705"/>
                    </a:lnTo>
                    <a:lnTo>
                      <a:pt x="736" y="12070"/>
                    </a:lnTo>
                    <a:lnTo>
                      <a:pt x="0" y="1016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07" name="AutoShape 101"/>
              <p:cNvSpPr>
                <a:spLocks/>
              </p:cNvSpPr>
              <p:nvPr/>
            </p:nvSpPr>
            <p:spPr bwMode="auto">
              <a:xfrm>
                <a:off x="142885" y="249237"/>
                <a:ext cx="200025" cy="25544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950" y="20006"/>
                    </a:moveTo>
                    <a:lnTo>
                      <a:pt x="9222" y="19652"/>
                    </a:lnTo>
                    <a:lnTo>
                      <a:pt x="8737" y="19121"/>
                    </a:lnTo>
                    <a:lnTo>
                      <a:pt x="8251" y="18059"/>
                    </a:lnTo>
                    <a:lnTo>
                      <a:pt x="8251" y="17704"/>
                    </a:lnTo>
                    <a:lnTo>
                      <a:pt x="8008" y="17350"/>
                    </a:lnTo>
                    <a:lnTo>
                      <a:pt x="7766" y="16819"/>
                    </a:lnTo>
                    <a:lnTo>
                      <a:pt x="7038" y="15580"/>
                    </a:lnTo>
                    <a:lnTo>
                      <a:pt x="6310" y="14518"/>
                    </a:lnTo>
                    <a:lnTo>
                      <a:pt x="5824" y="13455"/>
                    </a:lnTo>
                    <a:lnTo>
                      <a:pt x="4853" y="12039"/>
                    </a:lnTo>
                    <a:lnTo>
                      <a:pt x="3640" y="10800"/>
                    </a:lnTo>
                    <a:lnTo>
                      <a:pt x="2184" y="9560"/>
                    </a:lnTo>
                    <a:lnTo>
                      <a:pt x="1213" y="8675"/>
                    </a:lnTo>
                    <a:lnTo>
                      <a:pt x="728" y="8321"/>
                    </a:lnTo>
                    <a:lnTo>
                      <a:pt x="485" y="7967"/>
                    </a:lnTo>
                    <a:lnTo>
                      <a:pt x="485" y="7436"/>
                    </a:lnTo>
                    <a:lnTo>
                      <a:pt x="728" y="7436"/>
                    </a:lnTo>
                    <a:lnTo>
                      <a:pt x="728" y="7081"/>
                    </a:lnTo>
                    <a:lnTo>
                      <a:pt x="485" y="6904"/>
                    </a:lnTo>
                    <a:lnTo>
                      <a:pt x="485" y="6727"/>
                    </a:lnTo>
                    <a:lnTo>
                      <a:pt x="242" y="6550"/>
                    </a:lnTo>
                    <a:lnTo>
                      <a:pt x="0" y="6550"/>
                    </a:lnTo>
                    <a:lnTo>
                      <a:pt x="242" y="6019"/>
                    </a:lnTo>
                    <a:lnTo>
                      <a:pt x="970" y="5488"/>
                    </a:lnTo>
                    <a:lnTo>
                      <a:pt x="1213" y="5488"/>
                    </a:lnTo>
                    <a:lnTo>
                      <a:pt x="1698" y="5665"/>
                    </a:lnTo>
                    <a:lnTo>
                      <a:pt x="1941" y="5842"/>
                    </a:lnTo>
                    <a:lnTo>
                      <a:pt x="3155" y="5842"/>
                    </a:lnTo>
                    <a:lnTo>
                      <a:pt x="3397" y="6019"/>
                    </a:lnTo>
                    <a:lnTo>
                      <a:pt x="4125" y="6019"/>
                    </a:lnTo>
                    <a:lnTo>
                      <a:pt x="4368" y="5842"/>
                    </a:lnTo>
                    <a:lnTo>
                      <a:pt x="4368" y="5665"/>
                    </a:lnTo>
                    <a:lnTo>
                      <a:pt x="4853" y="5311"/>
                    </a:lnTo>
                    <a:lnTo>
                      <a:pt x="4853" y="4957"/>
                    </a:lnTo>
                    <a:lnTo>
                      <a:pt x="5096" y="4780"/>
                    </a:lnTo>
                    <a:lnTo>
                      <a:pt x="5339" y="4426"/>
                    </a:lnTo>
                    <a:lnTo>
                      <a:pt x="5582" y="4249"/>
                    </a:lnTo>
                    <a:lnTo>
                      <a:pt x="5824" y="4249"/>
                    </a:lnTo>
                    <a:lnTo>
                      <a:pt x="7280" y="3895"/>
                    </a:lnTo>
                    <a:lnTo>
                      <a:pt x="8494" y="3186"/>
                    </a:lnTo>
                    <a:lnTo>
                      <a:pt x="9465" y="2478"/>
                    </a:lnTo>
                    <a:lnTo>
                      <a:pt x="9950" y="1593"/>
                    </a:lnTo>
                    <a:lnTo>
                      <a:pt x="10193" y="1239"/>
                    </a:lnTo>
                    <a:lnTo>
                      <a:pt x="10193" y="885"/>
                    </a:lnTo>
                    <a:lnTo>
                      <a:pt x="9950" y="708"/>
                    </a:lnTo>
                    <a:lnTo>
                      <a:pt x="9950" y="0"/>
                    </a:lnTo>
                    <a:lnTo>
                      <a:pt x="10678" y="354"/>
                    </a:lnTo>
                    <a:lnTo>
                      <a:pt x="11406" y="531"/>
                    </a:lnTo>
                    <a:lnTo>
                      <a:pt x="11649" y="531"/>
                    </a:lnTo>
                    <a:lnTo>
                      <a:pt x="12620" y="885"/>
                    </a:lnTo>
                    <a:lnTo>
                      <a:pt x="14076" y="1239"/>
                    </a:lnTo>
                    <a:lnTo>
                      <a:pt x="14804" y="1593"/>
                    </a:lnTo>
                    <a:lnTo>
                      <a:pt x="15047" y="1947"/>
                    </a:lnTo>
                    <a:lnTo>
                      <a:pt x="15047" y="2301"/>
                    </a:lnTo>
                    <a:lnTo>
                      <a:pt x="15289" y="2478"/>
                    </a:lnTo>
                    <a:lnTo>
                      <a:pt x="15289" y="2832"/>
                    </a:lnTo>
                    <a:lnTo>
                      <a:pt x="16260" y="3186"/>
                    </a:lnTo>
                    <a:lnTo>
                      <a:pt x="18202" y="3186"/>
                    </a:lnTo>
                    <a:lnTo>
                      <a:pt x="18687" y="3363"/>
                    </a:lnTo>
                    <a:lnTo>
                      <a:pt x="19173" y="3363"/>
                    </a:lnTo>
                    <a:lnTo>
                      <a:pt x="19658" y="3718"/>
                    </a:lnTo>
                    <a:lnTo>
                      <a:pt x="19658" y="3895"/>
                    </a:lnTo>
                    <a:lnTo>
                      <a:pt x="18930" y="5311"/>
                    </a:lnTo>
                    <a:lnTo>
                      <a:pt x="19658" y="5311"/>
                    </a:lnTo>
                    <a:lnTo>
                      <a:pt x="19658" y="5842"/>
                    </a:lnTo>
                    <a:lnTo>
                      <a:pt x="18930" y="5842"/>
                    </a:lnTo>
                    <a:lnTo>
                      <a:pt x="18687" y="5665"/>
                    </a:lnTo>
                    <a:lnTo>
                      <a:pt x="17959" y="5665"/>
                    </a:lnTo>
                    <a:lnTo>
                      <a:pt x="17716" y="5842"/>
                    </a:lnTo>
                    <a:lnTo>
                      <a:pt x="17231" y="5842"/>
                    </a:lnTo>
                    <a:lnTo>
                      <a:pt x="16746" y="6019"/>
                    </a:lnTo>
                    <a:lnTo>
                      <a:pt x="16260" y="6019"/>
                    </a:lnTo>
                    <a:lnTo>
                      <a:pt x="15532" y="6373"/>
                    </a:lnTo>
                    <a:lnTo>
                      <a:pt x="15047" y="6727"/>
                    </a:lnTo>
                    <a:lnTo>
                      <a:pt x="14804" y="7081"/>
                    </a:lnTo>
                    <a:lnTo>
                      <a:pt x="14804" y="7613"/>
                    </a:lnTo>
                    <a:lnTo>
                      <a:pt x="14561" y="7967"/>
                    </a:lnTo>
                    <a:lnTo>
                      <a:pt x="14319" y="8144"/>
                    </a:lnTo>
                    <a:lnTo>
                      <a:pt x="14319" y="8321"/>
                    </a:lnTo>
                    <a:lnTo>
                      <a:pt x="13833" y="8675"/>
                    </a:lnTo>
                    <a:lnTo>
                      <a:pt x="13591" y="9029"/>
                    </a:lnTo>
                    <a:lnTo>
                      <a:pt x="13348" y="9560"/>
                    </a:lnTo>
                    <a:lnTo>
                      <a:pt x="13348" y="10268"/>
                    </a:lnTo>
                    <a:lnTo>
                      <a:pt x="13833" y="10800"/>
                    </a:lnTo>
                    <a:lnTo>
                      <a:pt x="13833" y="11154"/>
                    </a:lnTo>
                    <a:lnTo>
                      <a:pt x="14076" y="11331"/>
                    </a:lnTo>
                    <a:lnTo>
                      <a:pt x="14076" y="11862"/>
                    </a:lnTo>
                    <a:lnTo>
                      <a:pt x="14319" y="11862"/>
                    </a:lnTo>
                    <a:lnTo>
                      <a:pt x="14561" y="11685"/>
                    </a:lnTo>
                    <a:lnTo>
                      <a:pt x="14804" y="11685"/>
                    </a:lnTo>
                    <a:lnTo>
                      <a:pt x="15289" y="11862"/>
                    </a:lnTo>
                    <a:lnTo>
                      <a:pt x="15289" y="12039"/>
                    </a:lnTo>
                    <a:lnTo>
                      <a:pt x="15532" y="12216"/>
                    </a:lnTo>
                    <a:lnTo>
                      <a:pt x="16017" y="12216"/>
                    </a:lnTo>
                    <a:lnTo>
                      <a:pt x="16746" y="12393"/>
                    </a:lnTo>
                    <a:lnTo>
                      <a:pt x="17231" y="12393"/>
                    </a:lnTo>
                    <a:lnTo>
                      <a:pt x="17474" y="12216"/>
                    </a:lnTo>
                    <a:lnTo>
                      <a:pt x="17959" y="12039"/>
                    </a:lnTo>
                    <a:lnTo>
                      <a:pt x="18687" y="11508"/>
                    </a:lnTo>
                    <a:lnTo>
                      <a:pt x="18444" y="13809"/>
                    </a:lnTo>
                    <a:lnTo>
                      <a:pt x="18687" y="13986"/>
                    </a:lnTo>
                    <a:lnTo>
                      <a:pt x="18930" y="13986"/>
                    </a:lnTo>
                    <a:lnTo>
                      <a:pt x="19415" y="14163"/>
                    </a:lnTo>
                    <a:lnTo>
                      <a:pt x="20143" y="14163"/>
                    </a:lnTo>
                    <a:lnTo>
                      <a:pt x="21357" y="15580"/>
                    </a:lnTo>
                    <a:lnTo>
                      <a:pt x="21357" y="15757"/>
                    </a:lnTo>
                    <a:lnTo>
                      <a:pt x="21600" y="15934"/>
                    </a:lnTo>
                    <a:lnTo>
                      <a:pt x="21600" y="16288"/>
                    </a:lnTo>
                    <a:lnTo>
                      <a:pt x="21357" y="16465"/>
                    </a:lnTo>
                    <a:lnTo>
                      <a:pt x="21357" y="16642"/>
                    </a:lnTo>
                    <a:lnTo>
                      <a:pt x="21114" y="16996"/>
                    </a:lnTo>
                    <a:lnTo>
                      <a:pt x="21114" y="18413"/>
                    </a:lnTo>
                    <a:lnTo>
                      <a:pt x="21357" y="18413"/>
                    </a:lnTo>
                    <a:lnTo>
                      <a:pt x="21357" y="18590"/>
                    </a:lnTo>
                    <a:lnTo>
                      <a:pt x="21600" y="18944"/>
                    </a:lnTo>
                    <a:lnTo>
                      <a:pt x="21600" y="19475"/>
                    </a:lnTo>
                    <a:lnTo>
                      <a:pt x="21114" y="19829"/>
                    </a:lnTo>
                    <a:lnTo>
                      <a:pt x="20629" y="19829"/>
                    </a:lnTo>
                    <a:lnTo>
                      <a:pt x="20143" y="20006"/>
                    </a:lnTo>
                    <a:lnTo>
                      <a:pt x="19415" y="20183"/>
                    </a:lnTo>
                    <a:lnTo>
                      <a:pt x="18930" y="20360"/>
                    </a:lnTo>
                    <a:lnTo>
                      <a:pt x="18687" y="20714"/>
                    </a:lnTo>
                    <a:lnTo>
                      <a:pt x="18444" y="20891"/>
                    </a:lnTo>
                    <a:lnTo>
                      <a:pt x="17959" y="21068"/>
                    </a:lnTo>
                    <a:lnTo>
                      <a:pt x="17231" y="21245"/>
                    </a:lnTo>
                    <a:lnTo>
                      <a:pt x="16746" y="21422"/>
                    </a:lnTo>
                    <a:lnTo>
                      <a:pt x="16017" y="21600"/>
                    </a:lnTo>
                    <a:lnTo>
                      <a:pt x="14319" y="21600"/>
                    </a:lnTo>
                    <a:lnTo>
                      <a:pt x="14076" y="21422"/>
                    </a:lnTo>
                    <a:lnTo>
                      <a:pt x="12620" y="20891"/>
                    </a:lnTo>
                    <a:lnTo>
                      <a:pt x="11892" y="20714"/>
                    </a:lnTo>
                    <a:lnTo>
                      <a:pt x="11406" y="20360"/>
                    </a:lnTo>
                    <a:lnTo>
                      <a:pt x="9950" y="2000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08" name="AutoShape 102"/>
              <p:cNvSpPr>
                <a:spLocks/>
              </p:cNvSpPr>
              <p:nvPr/>
            </p:nvSpPr>
            <p:spPr bwMode="auto">
              <a:xfrm>
                <a:off x="282585" y="60428"/>
                <a:ext cx="198438" cy="18087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7283"/>
                    </a:moveTo>
                    <a:lnTo>
                      <a:pt x="20863" y="6781"/>
                    </a:lnTo>
                    <a:lnTo>
                      <a:pt x="19145" y="5023"/>
                    </a:lnTo>
                    <a:lnTo>
                      <a:pt x="18654" y="4772"/>
                    </a:lnTo>
                    <a:lnTo>
                      <a:pt x="17918" y="4520"/>
                    </a:lnTo>
                    <a:lnTo>
                      <a:pt x="17672" y="4269"/>
                    </a:lnTo>
                    <a:lnTo>
                      <a:pt x="17427" y="4269"/>
                    </a:lnTo>
                    <a:lnTo>
                      <a:pt x="16936" y="4018"/>
                    </a:lnTo>
                    <a:lnTo>
                      <a:pt x="16690" y="3516"/>
                    </a:lnTo>
                    <a:lnTo>
                      <a:pt x="16199" y="3013"/>
                    </a:lnTo>
                    <a:lnTo>
                      <a:pt x="15463" y="2762"/>
                    </a:lnTo>
                    <a:lnTo>
                      <a:pt x="14727" y="3013"/>
                    </a:lnTo>
                    <a:lnTo>
                      <a:pt x="14236" y="3013"/>
                    </a:lnTo>
                    <a:lnTo>
                      <a:pt x="13499" y="3265"/>
                    </a:lnTo>
                    <a:lnTo>
                      <a:pt x="13254" y="3265"/>
                    </a:lnTo>
                    <a:lnTo>
                      <a:pt x="13009" y="3516"/>
                    </a:lnTo>
                    <a:lnTo>
                      <a:pt x="11536" y="4018"/>
                    </a:lnTo>
                    <a:lnTo>
                      <a:pt x="9572" y="4018"/>
                    </a:lnTo>
                    <a:lnTo>
                      <a:pt x="8836" y="3767"/>
                    </a:lnTo>
                    <a:lnTo>
                      <a:pt x="8345" y="3516"/>
                    </a:lnTo>
                    <a:lnTo>
                      <a:pt x="7609" y="2762"/>
                    </a:lnTo>
                    <a:lnTo>
                      <a:pt x="6872" y="2260"/>
                    </a:lnTo>
                    <a:lnTo>
                      <a:pt x="6627" y="1758"/>
                    </a:lnTo>
                    <a:lnTo>
                      <a:pt x="6136" y="1255"/>
                    </a:lnTo>
                    <a:lnTo>
                      <a:pt x="6136" y="1004"/>
                    </a:lnTo>
                    <a:lnTo>
                      <a:pt x="5645" y="502"/>
                    </a:lnTo>
                    <a:lnTo>
                      <a:pt x="5154" y="502"/>
                    </a:lnTo>
                    <a:lnTo>
                      <a:pt x="5154" y="0"/>
                    </a:lnTo>
                    <a:lnTo>
                      <a:pt x="4909" y="0"/>
                    </a:lnTo>
                    <a:lnTo>
                      <a:pt x="4909" y="251"/>
                    </a:lnTo>
                    <a:lnTo>
                      <a:pt x="5154" y="502"/>
                    </a:lnTo>
                    <a:lnTo>
                      <a:pt x="4909" y="502"/>
                    </a:lnTo>
                    <a:lnTo>
                      <a:pt x="4909" y="1004"/>
                    </a:lnTo>
                    <a:lnTo>
                      <a:pt x="4663" y="1004"/>
                    </a:lnTo>
                    <a:lnTo>
                      <a:pt x="4663" y="1255"/>
                    </a:lnTo>
                    <a:lnTo>
                      <a:pt x="4418" y="1506"/>
                    </a:lnTo>
                    <a:lnTo>
                      <a:pt x="4418" y="2511"/>
                    </a:lnTo>
                    <a:lnTo>
                      <a:pt x="4172" y="2511"/>
                    </a:lnTo>
                    <a:lnTo>
                      <a:pt x="3927" y="2260"/>
                    </a:lnTo>
                    <a:lnTo>
                      <a:pt x="3927" y="1758"/>
                    </a:lnTo>
                    <a:lnTo>
                      <a:pt x="4172" y="1758"/>
                    </a:lnTo>
                    <a:lnTo>
                      <a:pt x="4172" y="1255"/>
                    </a:lnTo>
                    <a:lnTo>
                      <a:pt x="3927" y="1004"/>
                    </a:lnTo>
                    <a:lnTo>
                      <a:pt x="3927" y="502"/>
                    </a:lnTo>
                    <a:lnTo>
                      <a:pt x="3436" y="753"/>
                    </a:lnTo>
                    <a:lnTo>
                      <a:pt x="2945" y="1255"/>
                    </a:lnTo>
                    <a:lnTo>
                      <a:pt x="2700" y="1758"/>
                    </a:lnTo>
                    <a:lnTo>
                      <a:pt x="2454" y="2009"/>
                    </a:lnTo>
                    <a:lnTo>
                      <a:pt x="2209" y="2009"/>
                    </a:lnTo>
                    <a:lnTo>
                      <a:pt x="2209" y="2260"/>
                    </a:lnTo>
                    <a:lnTo>
                      <a:pt x="1718" y="2260"/>
                    </a:lnTo>
                    <a:lnTo>
                      <a:pt x="1227" y="2511"/>
                    </a:lnTo>
                    <a:lnTo>
                      <a:pt x="736" y="3013"/>
                    </a:lnTo>
                    <a:lnTo>
                      <a:pt x="245" y="3265"/>
                    </a:lnTo>
                    <a:lnTo>
                      <a:pt x="0" y="3767"/>
                    </a:lnTo>
                    <a:lnTo>
                      <a:pt x="0" y="5776"/>
                    </a:lnTo>
                    <a:lnTo>
                      <a:pt x="245" y="6027"/>
                    </a:lnTo>
                    <a:lnTo>
                      <a:pt x="245" y="6279"/>
                    </a:lnTo>
                    <a:lnTo>
                      <a:pt x="490" y="6781"/>
                    </a:lnTo>
                    <a:lnTo>
                      <a:pt x="490" y="7283"/>
                    </a:lnTo>
                    <a:lnTo>
                      <a:pt x="245" y="7534"/>
                    </a:lnTo>
                    <a:lnTo>
                      <a:pt x="245" y="8037"/>
                    </a:lnTo>
                    <a:lnTo>
                      <a:pt x="0" y="8539"/>
                    </a:lnTo>
                    <a:lnTo>
                      <a:pt x="0" y="9041"/>
                    </a:lnTo>
                    <a:lnTo>
                      <a:pt x="245" y="9544"/>
                    </a:lnTo>
                    <a:lnTo>
                      <a:pt x="245" y="10046"/>
                    </a:lnTo>
                    <a:lnTo>
                      <a:pt x="736" y="10548"/>
                    </a:lnTo>
                    <a:lnTo>
                      <a:pt x="1472" y="10800"/>
                    </a:lnTo>
                    <a:lnTo>
                      <a:pt x="5400" y="11302"/>
                    </a:lnTo>
                    <a:lnTo>
                      <a:pt x="5890" y="12306"/>
                    </a:lnTo>
                    <a:lnTo>
                      <a:pt x="7363" y="12306"/>
                    </a:lnTo>
                    <a:lnTo>
                      <a:pt x="7609" y="12055"/>
                    </a:lnTo>
                    <a:lnTo>
                      <a:pt x="8100" y="12055"/>
                    </a:lnTo>
                    <a:lnTo>
                      <a:pt x="8100" y="12809"/>
                    </a:lnTo>
                    <a:lnTo>
                      <a:pt x="7363" y="13562"/>
                    </a:lnTo>
                    <a:lnTo>
                      <a:pt x="7363" y="14065"/>
                    </a:lnTo>
                    <a:lnTo>
                      <a:pt x="7118" y="14567"/>
                    </a:lnTo>
                    <a:lnTo>
                      <a:pt x="7609" y="16074"/>
                    </a:lnTo>
                    <a:lnTo>
                      <a:pt x="8345" y="16576"/>
                    </a:lnTo>
                    <a:lnTo>
                      <a:pt x="7363" y="17581"/>
                    </a:lnTo>
                    <a:lnTo>
                      <a:pt x="7609" y="17581"/>
                    </a:lnTo>
                    <a:lnTo>
                      <a:pt x="7609" y="18083"/>
                    </a:lnTo>
                    <a:lnTo>
                      <a:pt x="7854" y="18586"/>
                    </a:lnTo>
                    <a:lnTo>
                      <a:pt x="8345" y="20093"/>
                    </a:lnTo>
                    <a:lnTo>
                      <a:pt x="8345" y="20595"/>
                    </a:lnTo>
                    <a:lnTo>
                      <a:pt x="9818" y="20846"/>
                    </a:lnTo>
                    <a:lnTo>
                      <a:pt x="12027" y="21599"/>
                    </a:lnTo>
                    <a:lnTo>
                      <a:pt x="14236" y="19088"/>
                    </a:lnTo>
                    <a:lnTo>
                      <a:pt x="15218" y="18586"/>
                    </a:lnTo>
                    <a:lnTo>
                      <a:pt x="15218" y="17581"/>
                    </a:lnTo>
                    <a:lnTo>
                      <a:pt x="13990" y="17581"/>
                    </a:lnTo>
                    <a:lnTo>
                      <a:pt x="13745" y="17330"/>
                    </a:lnTo>
                    <a:lnTo>
                      <a:pt x="13745" y="16325"/>
                    </a:lnTo>
                    <a:lnTo>
                      <a:pt x="13009" y="15572"/>
                    </a:lnTo>
                    <a:lnTo>
                      <a:pt x="12763" y="15572"/>
                    </a:lnTo>
                    <a:lnTo>
                      <a:pt x="12763" y="14818"/>
                    </a:lnTo>
                    <a:lnTo>
                      <a:pt x="13009" y="14818"/>
                    </a:lnTo>
                    <a:lnTo>
                      <a:pt x="13254" y="15069"/>
                    </a:lnTo>
                    <a:lnTo>
                      <a:pt x="13990" y="15320"/>
                    </a:lnTo>
                    <a:lnTo>
                      <a:pt x="15463" y="15572"/>
                    </a:lnTo>
                    <a:lnTo>
                      <a:pt x="15709" y="16325"/>
                    </a:lnTo>
                    <a:lnTo>
                      <a:pt x="17672" y="16074"/>
                    </a:lnTo>
                    <a:lnTo>
                      <a:pt x="17672" y="15572"/>
                    </a:lnTo>
                    <a:lnTo>
                      <a:pt x="18654" y="15069"/>
                    </a:lnTo>
                    <a:lnTo>
                      <a:pt x="18899" y="15069"/>
                    </a:lnTo>
                    <a:lnTo>
                      <a:pt x="19145" y="15320"/>
                    </a:lnTo>
                    <a:lnTo>
                      <a:pt x="19390" y="15320"/>
                    </a:lnTo>
                    <a:lnTo>
                      <a:pt x="19636" y="15069"/>
                    </a:lnTo>
                    <a:lnTo>
                      <a:pt x="19881" y="15069"/>
                    </a:lnTo>
                    <a:lnTo>
                      <a:pt x="20127" y="14818"/>
                    </a:lnTo>
                    <a:lnTo>
                      <a:pt x="20127" y="14567"/>
                    </a:lnTo>
                    <a:lnTo>
                      <a:pt x="19145" y="12558"/>
                    </a:lnTo>
                    <a:lnTo>
                      <a:pt x="19145" y="12306"/>
                    </a:lnTo>
                    <a:lnTo>
                      <a:pt x="18899" y="12055"/>
                    </a:lnTo>
                    <a:lnTo>
                      <a:pt x="18899" y="10548"/>
                    </a:lnTo>
                    <a:lnTo>
                      <a:pt x="19145" y="9795"/>
                    </a:lnTo>
                    <a:lnTo>
                      <a:pt x="20372" y="9544"/>
                    </a:lnTo>
                    <a:lnTo>
                      <a:pt x="20127" y="8037"/>
                    </a:lnTo>
                    <a:lnTo>
                      <a:pt x="20618" y="7786"/>
                    </a:lnTo>
                    <a:lnTo>
                      <a:pt x="20863" y="7786"/>
                    </a:lnTo>
                    <a:lnTo>
                      <a:pt x="21354" y="7534"/>
                    </a:lnTo>
                    <a:lnTo>
                      <a:pt x="21599" y="7283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09" name="AutoShape 103"/>
              <p:cNvSpPr>
                <a:spLocks/>
              </p:cNvSpPr>
              <p:nvPr/>
            </p:nvSpPr>
            <p:spPr bwMode="auto">
              <a:xfrm>
                <a:off x="457211" y="122307"/>
                <a:ext cx="57150" cy="8885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7032"/>
                    </a:moveTo>
                    <a:lnTo>
                      <a:pt x="19938" y="6530"/>
                    </a:lnTo>
                    <a:lnTo>
                      <a:pt x="19107" y="5525"/>
                    </a:lnTo>
                    <a:lnTo>
                      <a:pt x="16615" y="4018"/>
                    </a:lnTo>
                    <a:lnTo>
                      <a:pt x="14123" y="3013"/>
                    </a:lnTo>
                    <a:lnTo>
                      <a:pt x="9138" y="0"/>
                    </a:lnTo>
                    <a:lnTo>
                      <a:pt x="8307" y="502"/>
                    </a:lnTo>
                    <a:lnTo>
                      <a:pt x="6646" y="1004"/>
                    </a:lnTo>
                    <a:lnTo>
                      <a:pt x="5815" y="1004"/>
                    </a:lnTo>
                    <a:lnTo>
                      <a:pt x="4153" y="1506"/>
                    </a:lnTo>
                    <a:lnTo>
                      <a:pt x="4984" y="4520"/>
                    </a:lnTo>
                    <a:lnTo>
                      <a:pt x="830" y="5023"/>
                    </a:lnTo>
                    <a:lnTo>
                      <a:pt x="0" y="6530"/>
                    </a:lnTo>
                    <a:lnTo>
                      <a:pt x="0" y="9544"/>
                    </a:lnTo>
                    <a:lnTo>
                      <a:pt x="830" y="10046"/>
                    </a:lnTo>
                    <a:lnTo>
                      <a:pt x="830" y="10548"/>
                    </a:lnTo>
                    <a:lnTo>
                      <a:pt x="4153" y="14567"/>
                    </a:lnTo>
                    <a:lnTo>
                      <a:pt x="5815" y="14567"/>
                    </a:lnTo>
                    <a:lnTo>
                      <a:pt x="6646" y="15069"/>
                    </a:lnTo>
                    <a:lnTo>
                      <a:pt x="6646" y="15572"/>
                    </a:lnTo>
                    <a:lnTo>
                      <a:pt x="7476" y="16576"/>
                    </a:lnTo>
                    <a:lnTo>
                      <a:pt x="7476" y="18083"/>
                    </a:lnTo>
                    <a:lnTo>
                      <a:pt x="6646" y="18586"/>
                    </a:lnTo>
                    <a:lnTo>
                      <a:pt x="6646" y="21097"/>
                    </a:lnTo>
                    <a:lnTo>
                      <a:pt x="7476" y="21599"/>
                    </a:lnTo>
                    <a:lnTo>
                      <a:pt x="9969" y="21097"/>
                    </a:lnTo>
                    <a:lnTo>
                      <a:pt x="10800" y="21097"/>
                    </a:lnTo>
                    <a:lnTo>
                      <a:pt x="14953" y="20595"/>
                    </a:lnTo>
                    <a:lnTo>
                      <a:pt x="19107" y="20595"/>
                    </a:lnTo>
                    <a:lnTo>
                      <a:pt x="17446" y="19590"/>
                    </a:lnTo>
                    <a:lnTo>
                      <a:pt x="17446" y="18586"/>
                    </a:lnTo>
                    <a:lnTo>
                      <a:pt x="16615" y="16074"/>
                    </a:lnTo>
                    <a:lnTo>
                      <a:pt x="14953" y="15572"/>
                    </a:lnTo>
                    <a:lnTo>
                      <a:pt x="13292" y="13562"/>
                    </a:lnTo>
                    <a:lnTo>
                      <a:pt x="13292" y="11051"/>
                    </a:lnTo>
                    <a:lnTo>
                      <a:pt x="14123" y="10046"/>
                    </a:lnTo>
                    <a:lnTo>
                      <a:pt x="16615" y="10046"/>
                    </a:lnTo>
                    <a:lnTo>
                      <a:pt x="17446" y="10548"/>
                    </a:lnTo>
                    <a:lnTo>
                      <a:pt x="18276" y="10548"/>
                    </a:lnTo>
                    <a:lnTo>
                      <a:pt x="18276" y="10046"/>
                    </a:lnTo>
                    <a:lnTo>
                      <a:pt x="19107" y="9544"/>
                    </a:lnTo>
                    <a:lnTo>
                      <a:pt x="19107" y="9041"/>
                    </a:lnTo>
                    <a:lnTo>
                      <a:pt x="19938" y="8539"/>
                    </a:lnTo>
                    <a:lnTo>
                      <a:pt x="19938" y="8037"/>
                    </a:lnTo>
                    <a:lnTo>
                      <a:pt x="21600" y="703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0" name="AutoShape 104"/>
              <p:cNvSpPr>
                <a:spLocks/>
              </p:cNvSpPr>
              <p:nvPr/>
            </p:nvSpPr>
            <p:spPr bwMode="auto">
              <a:xfrm>
                <a:off x="492136" y="150866"/>
                <a:ext cx="52388" cy="5870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391" y="0"/>
                    </a:moveTo>
                    <a:lnTo>
                      <a:pt x="16904" y="3085"/>
                    </a:lnTo>
                    <a:lnTo>
                      <a:pt x="21600" y="3857"/>
                    </a:lnTo>
                    <a:lnTo>
                      <a:pt x="20660" y="6171"/>
                    </a:lnTo>
                    <a:lnTo>
                      <a:pt x="17843" y="8485"/>
                    </a:lnTo>
                    <a:lnTo>
                      <a:pt x="17843" y="9257"/>
                    </a:lnTo>
                    <a:lnTo>
                      <a:pt x="16904" y="10028"/>
                    </a:lnTo>
                    <a:lnTo>
                      <a:pt x="16904" y="10800"/>
                    </a:lnTo>
                    <a:lnTo>
                      <a:pt x="18782" y="12342"/>
                    </a:lnTo>
                    <a:lnTo>
                      <a:pt x="19721" y="13885"/>
                    </a:lnTo>
                    <a:lnTo>
                      <a:pt x="19721" y="14657"/>
                    </a:lnTo>
                    <a:lnTo>
                      <a:pt x="18782" y="16199"/>
                    </a:lnTo>
                    <a:lnTo>
                      <a:pt x="18782" y="19285"/>
                    </a:lnTo>
                    <a:lnTo>
                      <a:pt x="17843" y="20057"/>
                    </a:lnTo>
                    <a:lnTo>
                      <a:pt x="15965" y="20057"/>
                    </a:lnTo>
                    <a:lnTo>
                      <a:pt x="15026" y="19285"/>
                    </a:lnTo>
                    <a:lnTo>
                      <a:pt x="13147" y="19285"/>
                    </a:lnTo>
                    <a:lnTo>
                      <a:pt x="12208" y="20057"/>
                    </a:lnTo>
                    <a:lnTo>
                      <a:pt x="11269" y="20057"/>
                    </a:lnTo>
                    <a:lnTo>
                      <a:pt x="9391" y="19285"/>
                    </a:lnTo>
                    <a:lnTo>
                      <a:pt x="8452" y="20828"/>
                    </a:lnTo>
                    <a:lnTo>
                      <a:pt x="9391" y="21599"/>
                    </a:lnTo>
                    <a:lnTo>
                      <a:pt x="6573" y="20828"/>
                    </a:lnTo>
                    <a:lnTo>
                      <a:pt x="4695" y="19285"/>
                    </a:lnTo>
                    <a:lnTo>
                      <a:pt x="4695" y="17742"/>
                    </a:lnTo>
                    <a:lnTo>
                      <a:pt x="3756" y="13885"/>
                    </a:lnTo>
                    <a:lnTo>
                      <a:pt x="1878" y="13114"/>
                    </a:lnTo>
                    <a:lnTo>
                      <a:pt x="0" y="10028"/>
                    </a:lnTo>
                    <a:lnTo>
                      <a:pt x="0" y="6171"/>
                    </a:lnTo>
                    <a:lnTo>
                      <a:pt x="939" y="4628"/>
                    </a:lnTo>
                    <a:lnTo>
                      <a:pt x="3756" y="4628"/>
                    </a:lnTo>
                    <a:lnTo>
                      <a:pt x="4695" y="5400"/>
                    </a:lnTo>
                    <a:lnTo>
                      <a:pt x="5634" y="5400"/>
                    </a:lnTo>
                    <a:lnTo>
                      <a:pt x="5634" y="4628"/>
                    </a:lnTo>
                    <a:lnTo>
                      <a:pt x="6573" y="3857"/>
                    </a:lnTo>
                    <a:lnTo>
                      <a:pt x="6573" y="3085"/>
                    </a:lnTo>
                    <a:lnTo>
                      <a:pt x="7513" y="2314"/>
                    </a:lnTo>
                    <a:lnTo>
                      <a:pt x="7513" y="1542"/>
                    </a:lnTo>
                    <a:lnTo>
                      <a:pt x="9391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1" name="AutoShape 105"/>
              <p:cNvSpPr>
                <a:spLocks/>
              </p:cNvSpPr>
              <p:nvPr/>
            </p:nvSpPr>
            <p:spPr bwMode="auto">
              <a:xfrm>
                <a:off x="533411" y="161972"/>
                <a:ext cx="50800" cy="4283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9257"/>
                    </a:moveTo>
                    <a:lnTo>
                      <a:pt x="17843" y="6171"/>
                    </a:lnTo>
                    <a:lnTo>
                      <a:pt x="15026" y="4114"/>
                    </a:lnTo>
                    <a:lnTo>
                      <a:pt x="9391" y="2057"/>
                    </a:lnTo>
                    <a:lnTo>
                      <a:pt x="4695" y="0"/>
                    </a:lnTo>
                    <a:lnTo>
                      <a:pt x="3756" y="1028"/>
                    </a:lnTo>
                    <a:lnTo>
                      <a:pt x="3756" y="3085"/>
                    </a:lnTo>
                    <a:lnTo>
                      <a:pt x="939" y="6171"/>
                    </a:lnTo>
                    <a:lnTo>
                      <a:pt x="939" y="7200"/>
                    </a:lnTo>
                    <a:lnTo>
                      <a:pt x="0" y="8228"/>
                    </a:lnTo>
                    <a:lnTo>
                      <a:pt x="0" y="9257"/>
                    </a:lnTo>
                    <a:lnTo>
                      <a:pt x="1878" y="11314"/>
                    </a:lnTo>
                    <a:lnTo>
                      <a:pt x="2817" y="13371"/>
                    </a:lnTo>
                    <a:lnTo>
                      <a:pt x="2817" y="14399"/>
                    </a:lnTo>
                    <a:lnTo>
                      <a:pt x="1878" y="16457"/>
                    </a:lnTo>
                    <a:lnTo>
                      <a:pt x="1878" y="20571"/>
                    </a:lnTo>
                    <a:lnTo>
                      <a:pt x="939" y="20571"/>
                    </a:lnTo>
                    <a:lnTo>
                      <a:pt x="939" y="21599"/>
                    </a:lnTo>
                    <a:lnTo>
                      <a:pt x="3756" y="21599"/>
                    </a:lnTo>
                    <a:lnTo>
                      <a:pt x="4695" y="20571"/>
                    </a:lnTo>
                    <a:lnTo>
                      <a:pt x="9391" y="20571"/>
                    </a:lnTo>
                    <a:lnTo>
                      <a:pt x="10330" y="21599"/>
                    </a:lnTo>
                    <a:lnTo>
                      <a:pt x="13147" y="21599"/>
                    </a:lnTo>
                    <a:lnTo>
                      <a:pt x="13147" y="20571"/>
                    </a:lnTo>
                    <a:lnTo>
                      <a:pt x="14086" y="19542"/>
                    </a:lnTo>
                    <a:lnTo>
                      <a:pt x="14086" y="18514"/>
                    </a:lnTo>
                    <a:lnTo>
                      <a:pt x="15965" y="14399"/>
                    </a:lnTo>
                    <a:lnTo>
                      <a:pt x="16904" y="13371"/>
                    </a:lnTo>
                    <a:lnTo>
                      <a:pt x="18782" y="13371"/>
                    </a:lnTo>
                    <a:lnTo>
                      <a:pt x="19721" y="11314"/>
                    </a:lnTo>
                    <a:lnTo>
                      <a:pt x="21599" y="925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2" name="AutoShape 106"/>
              <p:cNvSpPr>
                <a:spLocks/>
              </p:cNvSpPr>
              <p:nvPr/>
            </p:nvSpPr>
            <p:spPr bwMode="auto">
              <a:xfrm>
                <a:off x="192098" y="58842"/>
                <a:ext cx="166687" cy="25386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8097" y="17315"/>
                    </a:moveTo>
                    <a:lnTo>
                      <a:pt x="18389" y="17851"/>
                    </a:lnTo>
                    <a:lnTo>
                      <a:pt x="18681" y="18208"/>
                    </a:lnTo>
                    <a:lnTo>
                      <a:pt x="18681" y="18565"/>
                    </a:lnTo>
                    <a:lnTo>
                      <a:pt x="18389" y="18922"/>
                    </a:lnTo>
                    <a:lnTo>
                      <a:pt x="17221" y="21599"/>
                    </a:lnTo>
                    <a:lnTo>
                      <a:pt x="16929" y="21421"/>
                    </a:lnTo>
                    <a:lnTo>
                      <a:pt x="16637" y="21421"/>
                    </a:lnTo>
                    <a:lnTo>
                      <a:pt x="16345" y="21599"/>
                    </a:lnTo>
                    <a:lnTo>
                      <a:pt x="17221" y="20171"/>
                    </a:lnTo>
                    <a:lnTo>
                      <a:pt x="17221" y="19993"/>
                    </a:lnTo>
                    <a:lnTo>
                      <a:pt x="16637" y="19636"/>
                    </a:lnTo>
                    <a:lnTo>
                      <a:pt x="16054" y="19636"/>
                    </a:lnTo>
                    <a:lnTo>
                      <a:pt x="15470" y="19457"/>
                    </a:lnTo>
                    <a:lnTo>
                      <a:pt x="13135" y="19457"/>
                    </a:lnTo>
                    <a:lnTo>
                      <a:pt x="11967" y="19100"/>
                    </a:lnTo>
                    <a:lnTo>
                      <a:pt x="11967" y="18743"/>
                    </a:lnTo>
                    <a:lnTo>
                      <a:pt x="11675" y="18565"/>
                    </a:lnTo>
                    <a:lnTo>
                      <a:pt x="11675" y="18208"/>
                    </a:lnTo>
                    <a:lnTo>
                      <a:pt x="11383" y="17851"/>
                    </a:lnTo>
                    <a:lnTo>
                      <a:pt x="10508" y="17494"/>
                    </a:lnTo>
                    <a:lnTo>
                      <a:pt x="8756" y="17137"/>
                    </a:lnTo>
                    <a:lnTo>
                      <a:pt x="7589" y="16780"/>
                    </a:lnTo>
                    <a:lnTo>
                      <a:pt x="7297" y="16780"/>
                    </a:lnTo>
                    <a:lnTo>
                      <a:pt x="6713" y="16601"/>
                    </a:lnTo>
                    <a:lnTo>
                      <a:pt x="5837" y="16423"/>
                    </a:lnTo>
                    <a:lnTo>
                      <a:pt x="5254" y="16066"/>
                    </a:lnTo>
                    <a:lnTo>
                      <a:pt x="4670" y="15887"/>
                    </a:lnTo>
                    <a:lnTo>
                      <a:pt x="3794" y="15352"/>
                    </a:lnTo>
                    <a:lnTo>
                      <a:pt x="2043" y="14995"/>
                    </a:lnTo>
                    <a:lnTo>
                      <a:pt x="1459" y="14995"/>
                    </a:lnTo>
                    <a:lnTo>
                      <a:pt x="583" y="14816"/>
                    </a:lnTo>
                    <a:lnTo>
                      <a:pt x="0" y="14816"/>
                    </a:lnTo>
                    <a:lnTo>
                      <a:pt x="291" y="14459"/>
                    </a:lnTo>
                    <a:lnTo>
                      <a:pt x="1459" y="13745"/>
                    </a:lnTo>
                    <a:lnTo>
                      <a:pt x="2627" y="11603"/>
                    </a:lnTo>
                    <a:lnTo>
                      <a:pt x="2627" y="7140"/>
                    </a:lnTo>
                    <a:lnTo>
                      <a:pt x="2918" y="6604"/>
                    </a:lnTo>
                    <a:lnTo>
                      <a:pt x="2918" y="6247"/>
                    </a:lnTo>
                    <a:lnTo>
                      <a:pt x="2627" y="6069"/>
                    </a:lnTo>
                    <a:lnTo>
                      <a:pt x="2627" y="5890"/>
                    </a:lnTo>
                    <a:lnTo>
                      <a:pt x="2918" y="5533"/>
                    </a:lnTo>
                    <a:lnTo>
                      <a:pt x="2627" y="5176"/>
                    </a:lnTo>
                    <a:lnTo>
                      <a:pt x="2627" y="4998"/>
                    </a:lnTo>
                    <a:lnTo>
                      <a:pt x="2918" y="4998"/>
                    </a:lnTo>
                    <a:lnTo>
                      <a:pt x="2918" y="4819"/>
                    </a:lnTo>
                    <a:lnTo>
                      <a:pt x="4962" y="4462"/>
                    </a:lnTo>
                    <a:lnTo>
                      <a:pt x="6421" y="3034"/>
                    </a:lnTo>
                    <a:lnTo>
                      <a:pt x="7297" y="2142"/>
                    </a:lnTo>
                    <a:lnTo>
                      <a:pt x="9924" y="1963"/>
                    </a:lnTo>
                    <a:lnTo>
                      <a:pt x="11675" y="892"/>
                    </a:lnTo>
                    <a:lnTo>
                      <a:pt x="12259" y="714"/>
                    </a:lnTo>
                    <a:lnTo>
                      <a:pt x="13427" y="714"/>
                    </a:lnTo>
                    <a:lnTo>
                      <a:pt x="13718" y="535"/>
                    </a:lnTo>
                    <a:lnTo>
                      <a:pt x="14010" y="535"/>
                    </a:lnTo>
                    <a:lnTo>
                      <a:pt x="14302" y="357"/>
                    </a:lnTo>
                    <a:lnTo>
                      <a:pt x="14886" y="178"/>
                    </a:lnTo>
                    <a:lnTo>
                      <a:pt x="15470" y="178"/>
                    </a:lnTo>
                    <a:lnTo>
                      <a:pt x="16054" y="0"/>
                    </a:lnTo>
                    <a:lnTo>
                      <a:pt x="16637" y="0"/>
                    </a:lnTo>
                    <a:lnTo>
                      <a:pt x="16637" y="178"/>
                    </a:lnTo>
                    <a:lnTo>
                      <a:pt x="16929" y="178"/>
                    </a:lnTo>
                    <a:lnTo>
                      <a:pt x="16929" y="357"/>
                    </a:lnTo>
                    <a:lnTo>
                      <a:pt x="16637" y="357"/>
                    </a:lnTo>
                    <a:lnTo>
                      <a:pt x="16637" y="535"/>
                    </a:lnTo>
                    <a:lnTo>
                      <a:pt x="16345" y="535"/>
                    </a:lnTo>
                    <a:lnTo>
                      <a:pt x="16054" y="714"/>
                    </a:lnTo>
                    <a:lnTo>
                      <a:pt x="15470" y="892"/>
                    </a:lnTo>
                    <a:lnTo>
                      <a:pt x="14302" y="1606"/>
                    </a:lnTo>
                    <a:lnTo>
                      <a:pt x="14302" y="1785"/>
                    </a:lnTo>
                    <a:lnTo>
                      <a:pt x="13718" y="1785"/>
                    </a:lnTo>
                    <a:lnTo>
                      <a:pt x="13135" y="1963"/>
                    </a:lnTo>
                    <a:lnTo>
                      <a:pt x="12551" y="2320"/>
                    </a:lnTo>
                    <a:lnTo>
                      <a:pt x="11967" y="2499"/>
                    </a:lnTo>
                    <a:lnTo>
                      <a:pt x="11675" y="2856"/>
                    </a:lnTo>
                    <a:lnTo>
                      <a:pt x="11675" y="4284"/>
                    </a:lnTo>
                    <a:lnTo>
                      <a:pt x="11967" y="4462"/>
                    </a:lnTo>
                    <a:lnTo>
                      <a:pt x="11967" y="4641"/>
                    </a:lnTo>
                    <a:lnTo>
                      <a:pt x="12259" y="4998"/>
                    </a:lnTo>
                    <a:lnTo>
                      <a:pt x="12259" y="5355"/>
                    </a:lnTo>
                    <a:lnTo>
                      <a:pt x="11967" y="5533"/>
                    </a:lnTo>
                    <a:lnTo>
                      <a:pt x="11967" y="5890"/>
                    </a:lnTo>
                    <a:lnTo>
                      <a:pt x="11675" y="6247"/>
                    </a:lnTo>
                    <a:lnTo>
                      <a:pt x="11675" y="6604"/>
                    </a:lnTo>
                    <a:lnTo>
                      <a:pt x="11967" y="6961"/>
                    </a:lnTo>
                    <a:lnTo>
                      <a:pt x="11967" y="7319"/>
                    </a:lnTo>
                    <a:lnTo>
                      <a:pt x="12551" y="7676"/>
                    </a:lnTo>
                    <a:lnTo>
                      <a:pt x="13427" y="7854"/>
                    </a:lnTo>
                    <a:lnTo>
                      <a:pt x="18097" y="8211"/>
                    </a:lnTo>
                    <a:lnTo>
                      <a:pt x="18681" y="8925"/>
                    </a:lnTo>
                    <a:lnTo>
                      <a:pt x="20432" y="8925"/>
                    </a:lnTo>
                    <a:lnTo>
                      <a:pt x="20724" y="8747"/>
                    </a:lnTo>
                    <a:lnTo>
                      <a:pt x="21308" y="8747"/>
                    </a:lnTo>
                    <a:lnTo>
                      <a:pt x="21308" y="9282"/>
                    </a:lnTo>
                    <a:lnTo>
                      <a:pt x="20432" y="9818"/>
                    </a:lnTo>
                    <a:lnTo>
                      <a:pt x="20432" y="10175"/>
                    </a:lnTo>
                    <a:lnTo>
                      <a:pt x="20140" y="10532"/>
                    </a:lnTo>
                    <a:lnTo>
                      <a:pt x="20724" y="11603"/>
                    </a:lnTo>
                    <a:lnTo>
                      <a:pt x="21599" y="11960"/>
                    </a:lnTo>
                    <a:lnTo>
                      <a:pt x="20432" y="12674"/>
                    </a:lnTo>
                    <a:lnTo>
                      <a:pt x="20724" y="12674"/>
                    </a:lnTo>
                    <a:lnTo>
                      <a:pt x="20724" y="13031"/>
                    </a:lnTo>
                    <a:lnTo>
                      <a:pt x="21016" y="13388"/>
                    </a:lnTo>
                    <a:lnTo>
                      <a:pt x="21599" y="14459"/>
                    </a:lnTo>
                    <a:lnTo>
                      <a:pt x="21599" y="14816"/>
                    </a:lnTo>
                    <a:lnTo>
                      <a:pt x="21308" y="14816"/>
                    </a:lnTo>
                    <a:lnTo>
                      <a:pt x="21308" y="14638"/>
                    </a:lnTo>
                    <a:lnTo>
                      <a:pt x="20724" y="13923"/>
                    </a:lnTo>
                    <a:lnTo>
                      <a:pt x="17221" y="14280"/>
                    </a:lnTo>
                    <a:lnTo>
                      <a:pt x="17513" y="14995"/>
                    </a:lnTo>
                    <a:lnTo>
                      <a:pt x="18389" y="14995"/>
                    </a:lnTo>
                    <a:lnTo>
                      <a:pt x="18972" y="15887"/>
                    </a:lnTo>
                    <a:lnTo>
                      <a:pt x="18681" y="15887"/>
                    </a:lnTo>
                    <a:lnTo>
                      <a:pt x="18389" y="15709"/>
                    </a:lnTo>
                    <a:lnTo>
                      <a:pt x="18097" y="15709"/>
                    </a:lnTo>
                    <a:lnTo>
                      <a:pt x="17805" y="15530"/>
                    </a:lnTo>
                    <a:lnTo>
                      <a:pt x="17513" y="15530"/>
                    </a:lnTo>
                    <a:lnTo>
                      <a:pt x="17513" y="16601"/>
                    </a:lnTo>
                    <a:lnTo>
                      <a:pt x="17805" y="16780"/>
                    </a:lnTo>
                    <a:lnTo>
                      <a:pt x="18097" y="1731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3" name="AutoShape 107"/>
              <p:cNvSpPr>
                <a:spLocks/>
              </p:cNvSpPr>
              <p:nvPr/>
            </p:nvSpPr>
            <p:spPr bwMode="auto">
              <a:xfrm>
                <a:off x="146060" y="233371"/>
                <a:ext cx="92075" cy="8726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700" y="20571"/>
                    </a:moveTo>
                    <a:lnTo>
                      <a:pt x="2700" y="19028"/>
                    </a:lnTo>
                    <a:lnTo>
                      <a:pt x="1620" y="19028"/>
                    </a:lnTo>
                    <a:lnTo>
                      <a:pt x="0" y="17485"/>
                    </a:lnTo>
                    <a:lnTo>
                      <a:pt x="0" y="16971"/>
                    </a:lnTo>
                    <a:lnTo>
                      <a:pt x="1620" y="13885"/>
                    </a:lnTo>
                    <a:lnTo>
                      <a:pt x="3780" y="11314"/>
                    </a:lnTo>
                    <a:lnTo>
                      <a:pt x="6480" y="9257"/>
                    </a:lnTo>
                    <a:lnTo>
                      <a:pt x="7559" y="8742"/>
                    </a:lnTo>
                    <a:lnTo>
                      <a:pt x="8100" y="5657"/>
                    </a:lnTo>
                    <a:lnTo>
                      <a:pt x="9180" y="4628"/>
                    </a:lnTo>
                    <a:lnTo>
                      <a:pt x="9719" y="4628"/>
                    </a:lnTo>
                    <a:lnTo>
                      <a:pt x="10259" y="4114"/>
                    </a:lnTo>
                    <a:lnTo>
                      <a:pt x="10259" y="1542"/>
                    </a:lnTo>
                    <a:lnTo>
                      <a:pt x="10800" y="514"/>
                    </a:lnTo>
                    <a:lnTo>
                      <a:pt x="10800" y="0"/>
                    </a:lnTo>
                    <a:lnTo>
                      <a:pt x="11880" y="0"/>
                    </a:lnTo>
                    <a:lnTo>
                      <a:pt x="13499" y="514"/>
                    </a:lnTo>
                    <a:lnTo>
                      <a:pt x="14580" y="514"/>
                    </a:lnTo>
                    <a:lnTo>
                      <a:pt x="17819" y="1542"/>
                    </a:lnTo>
                    <a:lnTo>
                      <a:pt x="18360" y="1542"/>
                    </a:lnTo>
                    <a:lnTo>
                      <a:pt x="18899" y="2571"/>
                    </a:lnTo>
                    <a:lnTo>
                      <a:pt x="19980" y="3085"/>
                    </a:lnTo>
                    <a:lnTo>
                      <a:pt x="21060" y="4114"/>
                    </a:lnTo>
                    <a:lnTo>
                      <a:pt x="21060" y="6171"/>
                    </a:lnTo>
                    <a:lnTo>
                      <a:pt x="21599" y="6685"/>
                    </a:lnTo>
                    <a:lnTo>
                      <a:pt x="21599" y="7714"/>
                    </a:lnTo>
                    <a:lnTo>
                      <a:pt x="21060" y="8742"/>
                    </a:lnTo>
                    <a:lnTo>
                      <a:pt x="19980" y="11314"/>
                    </a:lnTo>
                    <a:lnTo>
                      <a:pt x="17819" y="13371"/>
                    </a:lnTo>
                    <a:lnTo>
                      <a:pt x="15119" y="15428"/>
                    </a:lnTo>
                    <a:lnTo>
                      <a:pt x="11880" y="16457"/>
                    </a:lnTo>
                    <a:lnTo>
                      <a:pt x="11340" y="16457"/>
                    </a:lnTo>
                    <a:lnTo>
                      <a:pt x="10800" y="16971"/>
                    </a:lnTo>
                    <a:lnTo>
                      <a:pt x="10259" y="18000"/>
                    </a:lnTo>
                    <a:lnTo>
                      <a:pt x="9719" y="18514"/>
                    </a:lnTo>
                    <a:lnTo>
                      <a:pt x="9719" y="19542"/>
                    </a:lnTo>
                    <a:lnTo>
                      <a:pt x="8640" y="20571"/>
                    </a:lnTo>
                    <a:lnTo>
                      <a:pt x="8640" y="21085"/>
                    </a:lnTo>
                    <a:lnTo>
                      <a:pt x="8100" y="21599"/>
                    </a:lnTo>
                    <a:lnTo>
                      <a:pt x="6480" y="21599"/>
                    </a:lnTo>
                    <a:lnTo>
                      <a:pt x="5940" y="21085"/>
                    </a:lnTo>
                    <a:lnTo>
                      <a:pt x="3240" y="21085"/>
                    </a:lnTo>
                    <a:lnTo>
                      <a:pt x="2700" y="2057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4" name="AutoShape 108"/>
              <p:cNvSpPr>
                <a:spLocks/>
              </p:cNvSpPr>
              <p:nvPr/>
            </p:nvSpPr>
            <p:spPr bwMode="auto">
              <a:xfrm>
                <a:off x="271473" y="588775"/>
                <a:ext cx="301625" cy="69177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6608" y="589"/>
                    </a:moveTo>
                    <a:lnTo>
                      <a:pt x="6608" y="1178"/>
                    </a:lnTo>
                    <a:lnTo>
                      <a:pt x="6447" y="1178"/>
                    </a:lnTo>
                    <a:lnTo>
                      <a:pt x="5802" y="1439"/>
                    </a:lnTo>
                    <a:lnTo>
                      <a:pt x="5641" y="1636"/>
                    </a:lnTo>
                    <a:lnTo>
                      <a:pt x="5480" y="1898"/>
                    </a:lnTo>
                    <a:lnTo>
                      <a:pt x="4997" y="2290"/>
                    </a:lnTo>
                    <a:lnTo>
                      <a:pt x="4513" y="2618"/>
                    </a:lnTo>
                    <a:lnTo>
                      <a:pt x="4191" y="2945"/>
                    </a:lnTo>
                    <a:lnTo>
                      <a:pt x="4029" y="3207"/>
                    </a:lnTo>
                    <a:lnTo>
                      <a:pt x="3868" y="3403"/>
                    </a:lnTo>
                    <a:lnTo>
                      <a:pt x="3868" y="3665"/>
                    </a:lnTo>
                    <a:lnTo>
                      <a:pt x="3707" y="4123"/>
                    </a:lnTo>
                    <a:lnTo>
                      <a:pt x="3868" y="4712"/>
                    </a:lnTo>
                    <a:lnTo>
                      <a:pt x="3707" y="7658"/>
                    </a:lnTo>
                    <a:lnTo>
                      <a:pt x="3707" y="7723"/>
                    </a:lnTo>
                    <a:lnTo>
                      <a:pt x="3223" y="7920"/>
                    </a:lnTo>
                    <a:lnTo>
                      <a:pt x="3062" y="8050"/>
                    </a:lnTo>
                    <a:lnTo>
                      <a:pt x="2740" y="8181"/>
                    </a:lnTo>
                    <a:lnTo>
                      <a:pt x="2579" y="8378"/>
                    </a:lnTo>
                    <a:lnTo>
                      <a:pt x="2417" y="8509"/>
                    </a:lnTo>
                    <a:lnTo>
                      <a:pt x="2256" y="8574"/>
                    </a:lnTo>
                    <a:lnTo>
                      <a:pt x="1934" y="9163"/>
                    </a:lnTo>
                    <a:lnTo>
                      <a:pt x="1773" y="9229"/>
                    </a:lnTo>
                    <a:lnTo>
                      <a:pt x="1773" y="9294"/>
                    </a:lnTo>
                    <a:lnTo>
                      <a:pt x="1934" y="9556"/>
                    </a:lnTo>
                    <a:lnTo>
                      <a:pt x="1773" y="9883"/>
                    </a:lnTo>
                    <a:lnTo>
                      <a:pt x="1934" y="10145"/>
                    </a:lnTo>
                    <a:lnTo>
                      <a:pt x="1773" y="10538"/>
                    </a:lnTo>
                    <a:lnTo>
                      <a:pt x="1450" y="10603"/>
                    </a:lnTo>
                    <a:lnTo>
                      <a:pt x="1450" y="10865"/>
                    </a:lnTo>
                    <a:lnTo>
                      <a:pt x="1611" y="10865"/>
                    </a:lnTo>
                    <a:lnTo>
                      <a:pt x="1611" y="12240"/>
                    </a:lnTo>
                    <a:lnTo>
                      <a:pt x="1450" y="12370"/>
                    </a:lnTo>
                    <a:lnTo>
                      <a:pt x="1450" y="12567"/>
                    </a:lnTo>
                    <a:lnTo>
                      <a:pt x="1611" y="12632"/>
                    </a:lnTo>
                    <a:lnTo>
                      <a:pt x="1611" y="12698"/>
                    </a:lnTo>
                    <a:lnTo>
                      <a:pt x="1773" y="12763"/>
                    </a:lnTo>
                    <a:lnTo>
                      <a:pt x="1773" y="13745"/>
                    </a:lnTo>
                    <a:lnTo>
                      <a:pt x="1611" y="14007"/>
                    </a:lnTo>
                    <a:lnTo>
                      <a:pt x="1611" y="14072"/>
                    </a:lnTo>
                    <a:lnTo>
                      <a:pt x="1289" y="14138"/>
                    </a:lnTo>
                    <a:lnTo>
                      <a:pt x="483" y="14465"/>
                    </a:lnTo>
                    <a:lnTo>
                      <a:pt x="322" y="14596"/>
                    </a:lnTo>
                    <a:lnTo>
                      <a:pt x="161" y="14792"/>
                    </a:lnTo>
                    <a:lnTo>
                      <a:pt x="161" y="17345"/>
                    </a:lnTo>
                    <a:lnTo>
                      <a:pt x="0" y="17410"/>
                    </a:lnTo>
                    <a:lnTo>
                      <a:pt x="0" y="17541"/>
                    </a:lnTo>
                    <a:lnTo>
                      <a:pt x="161" y="17738"/>
                    </a:lnTo>
                    <a:lnTo>
                      <a:pt x="161" y="18130"/>
                    </a:lnTo>
                    <a:lnTo>
                      <a:pt x="1128" y="18589"/>
                    </a:lnTo>
                    <a:lnTo>
                      <a:pt x="4352" y="18589"/>
                    </a:lnTo>
                    <a:lnTo>
                      <a:pt x="4352" y="18981"/>
                    </a:lnTo>
                    <a:lnTo>
                      <a:pt x="4513" y="19243"/>
                    </a:lnTo>
                    <a:lnTo>
                      <a:pt x="4513" y="20029"/>
                    </a:lnTo>
                    <a:lnTo>
                      <a:pt x="4835" y="20880"/>
                    </a:lnTo>
                    <a:lnTo>
                      <a:pt x="8059" y="20945"/>
                    </a:lnTo>
                    <a:lnTo>
                      <a:pt x="9188" y="21600"/>
                    </a:lnTo>
                    <a:lnTo>
                      <a:pt x="9510" y="21207"/>
                    </a:lnTo>
                    <a:lnTo>
                      <a:pt x="9510" y="20880"/>
                    </a:lnTo>
                    <a:lnTo>
                      <a:pt x="8543" y="20421"/>
                    </a:lnTo>
                    <a:lnTo>
                      <a:pt x="7576" y="20094"/>
                    </a:lnTo>
                    <a:lnTo>
                      <a:pt x="7414" y="20160"/>
                    </a:lnTo>
                    <a:lnTo>
                      <a:pt x="6608" y="20160"/>
                    </a:lnTo>
                    <a:lnTo>
                      <a:pt x="5964" y="20029"/>
                    </a:lnTo>
                    <a:lnTo>
                      <a:pt x="5319" y="19767"/>
                    </a:lnTo>
                    <a:lnTo>
                      <a:pt x="4835" y="19309"/>
                    </a:lnTo>
                    <a:lnTo>
                      <a:pt x="4513" y="18589"/>
                    </a:lnTo>
                    <a:lnTo>
                      <a:pt x="4513" y="18458"/>
                    </a:lnTo>
                    <a:lnTo>
                      <a:pt x="4191" y="17803"/>
                    </a:lnTo>
                    <a:lnTo>
                      <a:pt x="4352" y="17476"/>
                    </a:lnTo>
                    <a:lnTo>
                      <a:pt x="4997" y="17214"/>
                    </a:lnTo>
                    <a:lnTo>
                      <a:pt x="5964" y="16625"/>
                    </a:lnTo>
                    <a:lnTo>
                      <a:pt x="6286" y="16560"/>
                    </a:lnTo>
                    <a:lnTo>
                      <a:pt x="6447" y="16429"/>
                    </a:lnTo>
                    <a:lnTo>
                      <a:pt x="6770" y="16363"/>
                    </a:lnTo>
                    <a:lnTo>
                      <a:pt x="7576" y="16036"/>
                    </a:lnTo>
                    <a:lnTo>
                      <a:pt x="7576" y="15840"/>
                    </a:lnTo>
                    <a:lnTo>
                      <a:pt x="7737" y="15774"/>
                    </a:lnTo>
                    <a:lnTo>
                      <a:pt x="7737" y="15250"/>
                    </a:lnTo>
                    <a:lnTo>
                      <a:pt x="7576" y="15120"/>
                    </a:lnTo>
                    <a:lnTo>
                      <a:pt x="6608" y="14923"/>
                    </a:lnTo>
                    <a:lnTo>
                      <a:pt x="6286" y="14792"/>
                    </a:lnTo>
                    <a:lnTo>
                      <a:pt x="5964" y="14530"/>
                    </a:lnTo>
                    <a:lnTo>
                      <a:pt x="5964" y="14138"/>
                    </a:lnTo>
                    <a:lnTo>
                      <a:pt x="6125" y="14007"/>
                    </a:lnTo>
                    <a:lnTo>
                      <a:pt x="6286" y="13941"/>
                    </a:lnTo>
                    <a:lnTo>
                      <a:pt x="6608" y="13876"/>
                    </a:lnTo>
                    <a:lnTo>
                      <a:pt x="7092" y="13876"/>
                    </a:lnTo>
                    <a:lnTo>
                      <a:pt x="8382" y="13156"/>
                    </a:lnTo>
                    <a:lnTo>
                      <a:pt x="9026" y="12501"/>
                    </a:lnTo>
                    <a:lnTo>
                      <a:pt x="9026" y="12109"/>
                    </a:lnTo>
                    <a:lnTo>
                      <a:pt x="9994" y="12043"/>
                    </a:lnTo>
                    <a:lnTo>
                      <a:pt x="9994" y="11585"/>
                    </a:lnTo>
                    <a:lnTo>
                      <a:pt x="9026" y="11389"/>
                    </a:lnTo>
                    <a:lnTo>
                      <a:pt x="9026" y="11323"/>
                    </a:lnTo>
                    <a:lnTo>
                      <a:pt x="8865" y="11258"/>
                    </a:lnTo>
                    <a:lnTo>
                      <a:pt x="8865" y="10996"/>
                    </a:lnTo>
                    <a:lnTo>
                      <a:pt x="9188" y="10865"/>
                    </a:lnTo>
                    <a:lnTo>
                      <a:pt x="9510" y="10865"/>
                    </a:lnTo>
                    <a:lnTo>
                      <a:pt x="11122" y="10930"/>
                    </a:lnTo>
                    <a:lnTo>
                      <a:pt x="11444" y="10276"/>
                    </a:lnTo>
                    <a:lnTo>
                      <a:pt x="11444" y="10210"/>
                    </a:lnTo>
                    <a:lnTo>
                      <a:pt x="11605" y="10145"/>
                    </a:lnTo>
                    <a:lnTo>
                      <a:pt x="11605" y="10014"/>
                    </a:lnTo>
                    <a:lnTo>
                      <a:pt x="11928" y="9818"/>
                    </a:lnTo>
                    <a:lnTo>
                      <a:pt x="12089" y="9687"/>
                    </a:lnTo>
                    <a:lnTo>
                      <a:pt x="12411" y="9621"/>
                    </a:lnTo>
                    <a:lnTo>
                      <a:pt x="12895" y="9556"/>
                    </a:lnTo>
                    <a:lnTo>
                      <a:pt x="13217" y="9621"/>
                    </a:lnTo>
                    <a:lnTo>
                      <a:pt x="14829" y="9621"/>
                    </a:lnTo>
                    <a:lnTo>
                      <a:pt x="15958" y="9490"/>
                    </a:lnTo>
                    <a:lnTo>
                      <a:pt x="16925" y="9229"/>
                    </a:lnTo>
                    <a:lnTo>
                      <a:pt x="17731" y="8574"/>
                    </a:lnTo>
                    <a:lnTo>
                      <a:pt x="17731" y="8378"/>
                    </a:lnTo>
                    <a:lnTo>
                      <a:pt x="17570" y="8181"/>
                    </a:lnTo>
                    <a:lnTo>
                      <a:pt x="17247" y="7658"/>
                    </a:lnTo>
                    <a:lnTo>
                      <a:pt x="16764" y="7134"/>
                    </a:lnTo>
                    <a:lnTo>
                      <a:pt x="16602" y="7069"/>
                    </a:lnTo>
                    <a:lnTo>
                      <a:pt x="16602" y="7003"/>
                    </a:lnTo>
                    <a:lnTo>
                      <a:pt x="16119" y="6610"/>
                    </a:lnTo>
                    <a:lnTo>
                      <a:pt x="16119" y="6414"/>
                    </a:lnTo>
                    <a:lnTo>
                      <a:pt x="16280" y="6349"/>
                    </a:lnTo>
                    <a:lnTo>
                      <a:pt x="16280" y="6218"/>
                    </a:lnTo>
                    <a:lnTo>
                      <a:pt x="16119" y="5890"/>
                    </a:lnTo>
                    <a:lnTo>
                      <a:pt x="16119" y="5170"/>
                    </a:lnTo>
                    <a:lnTo>
                      <a:pt x="16280" y="4974"/>
                    </a:lnTo>
                    <a:lnTo>
                      <a:pt x="17247" y="4385"/>
                    </a:lnTo>
                    <a:lnTo>
                      <a:pt x="17247" y="4189"/>
                    </a:lnTo>
                    <a:lnTo>
                      <a:pt x="17570" y="4058"/>
                    </a:lnTo>
                    <a:lnTo>
                      <a:pt x="17731" y="3927"/>
                    </a:lnTo>
                    <a:lnTo>
                      <a:pt x="18537" y="3600"/>
                    </a:lnTo>
                    <a:lnTo>
                      <a:pt x="19826" y="3207"/>
                    </a:lnTo>
                    <a:lnTo>
                      <a:pt x="20471" y="2945"/>
                    </a:lnTo>
                    <a:lnTo>
                      <a:pt x="21116" y="2749"/>
                    </a:lnTo>
                    <a:lnTo>
                      <a:pt x="21277" y="2683"/>
                    </a:lnTo>
                    <a:lnTo>
                      <a:pt x="21438" y="2487"/>
                    </a:lnTo>
                    <a:lnTo>
                      <a:pt x="21599" y="2356"/>
                    </a:lnTo>
                    <a:lnTo>
                      <a:pt x="21599" y="2094"/>
                    </a:lnTo>
                    <a:lnTo>
                      <a:pt x="21438" y="2029"/>
                    </a:lnTo>
                    <a:lnTo>
                      <a:pt x="21116" y="2029"/>
                    </a:lnTo>
                    <a:lnTo>
                      <a:pt x="21116" y="1963"/>
                    </a:lnTo>
                    <a:lnTo>
                      <a:pt x="20794" y="1963"/>
                    </a:lnTo>
                    <a:lnTo>
                      <a:pt x="20794" y="1832"/>
                    </a:lnTo>
                    <a:lnTo>
                      <a:pt x="20955" y="1832"/>
                    </a:lnTo>
                    <a:lnTo>
                      <a:pt x="20310" y="1898"/>
                    </a:lnTo>
                    <a:lnTo>
                      <a:pt x="20310" y="1963"/>
                    </a:lnTo>
                    <a:lnTo>
                      <a:pt x="20149" y="2159"/>
                    </a:lnTo>
                    <a:lnTo>
                      <a:pt x="20149" y="2421"/>
                    </a:lnTo>
                    <a:lnTo>
                      <a:pt x="19826" y="2683"/>
                    </a:lnTo>
                    <a:lnTo>
                      <a:pt x="19826" y="2879"/>
                    </a:lnTo>
                    <a:lnTo>
                      <a:pt x="15635" y="2879"/>
                    </a:lnTo>
                    <a:lnTo>
                      <a:pt x="16925" y="1701"/>
                    </a:lnTo>
                    <a:lnTo>
                      <a:pt x="14185" y="1112"/>
                    </a:lnTo>
                    <a:lnTo>
                      <a:pt x="13701" y="916"/>
                    </a:lnTo>
                    <a:lnTo>
                      <a:pt x="12411" y="719"/>
                    </a:lnTo>
                    <a:lnTo>
                      <a:pt x="11767" y="589"/>
                    </a:lnTo>
                    <a:lnTo>
                      <a:pt x="11605" y="523"/>
                    </a:lnTo>
                    <a:lnTo>
                      <a:pt x="11605" y="196"/>
                    </a:lnTo>
                    <a:lnTo>
                      <a:pt x="11283" y="65"/>
                    </a:lnTo>
                    <a:lnTo>
                      <a:pt x="11122" y="65"/>
                    </a:lnTo>
                    <a:lnTo>
                      <a:pt x="10800" y="0"/>
                    </a:lnTo>
                    <a:lnTo>
                      <a:pt x="10477" y="130"/>
                    </a:lnTo>
                    <a:lnTo>
                      <a:pt x="9671" y="523"/>
                    </a:lnTo>
                    <a:lnTo>
                      <a:pt x="9671" y="392"/>
                    </a:lnTo>
                    <a:lnTo>
                      <a:pt x="9510" y="261"/>
                    </a:lnTo>
                    <a:lnTo>
                      <a:pt x="9188" y="130"/>
                    </a:lnTo>
                    <a:lnTo>
                      <a:pt x="8704" y="130"/>
                    </a:lnTo>
                    <a:lnTo>
                      <a:pt x="7576" y="0"/>
                    </a:lnTo>
                    <a:lnTo>
                      <a:pt x="7576" y="65"/>
                    </a:lnTo>
                    <a:lnTo>
                      <a:pt x="7253" y="327"/>
                    </a:lnTo>
                    <a:lnTo>
                      <a:pt x="6608" y="58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5" name="AutoShape 109"/>
              <p:cNvSpPr>
                <a:spLocks/>
              </p:cNvSpPr>
              <p:nvPr/>
            </p:nvSpPr>
            <p:spPr bwMode="auto">
              <a:xfrm>
                <a:off x="266710" y="181012"/>
                <a:ext cx="600076" cy="59815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1774" y="21222"/>
                    </a:moveTo>
                    <a:lnTo>
                      <a:pt x="11855" y="20995"/>
                    </a:lnTo>
                    <a:lnTo>
                      <a:pt x="12018" y="20693"/>
                    </a:lnTo>
                    <a:lnTo>
                      <a:pt x="12342" y="20240"/>
                    </a:lnTo>
                    <a:lnTo>
                      <a:pt x="12748" y="19560"/>
                    </a:lnTo>
                    <a:lnTo>
                      <a:pt x="13154" y="18579"/>
                    </a:lnTo>
                    <a:lnTo>
                      <a:pt x="13642" y="17295"/>
                    </a:lnTo>
                    <a:lnTo>
                      <a:pt x="14372" y="16615"/>
                    </a:lnTo>
                    <a:lnTo>
                      <a:pt x="15022" y="16086"/>
                    </a:lnTo>
                    <a:lnTo>
                      <a:pt x="15915" y="15633"/>
                    </a:lnTo>
                    <a:lnTo>
                      <a:pt x="16890" y="15331"/>
                    </a:lnTo>
                    <a:lnTo>
                      <a:pt x="16971" y="15255"/>
                    </a:lnTo>
                    <a:lnTo>
                      <a:pt x="17296" y="15104"/>
                    </a:lnTo>
                    <a:lnTo>
                      <a:pt x="17621" y="14878"/>
                    </a:lnTo>
                    <a:lnTo>
                      <a:pt x="18108" y="14425"/>
                    </a:lnTo>
                    <a:lnTo>
                      <a:pt x="18514" y="13820"/>
                    </a:lnTo>
                    <a:lnTo>
                      <a:pt x="18920" y="12990"/>
                    </a:lnTo>
                    <a:lnTo>
                      <a:pt x="19163" y="12008"/>
                    </a:lnTo>
                    <a:lnTo>
                      <a:pt x="19245" y="10724"/>
                    </a:lnTo>
                    <a:lnTo>
                      <a:pt x="20869" y="8156"/>
                    </a:lnTo>
                    <a:lnTo>
                      <a:pt x="20950" y="8081"/>
                    </a:lnTo>
                    <a:lnTo>
                      <a:pt x="21275" y="7703"/>
                    </a:lnTo>
                    <a:lnTo>
                      <a:pt x="21518" y="7174"/>
                    </a:lnTo>
                    <a:lnTo>
                      <a:pt x="21599" y="6419"/>
                    </a:lnTo>
                    <a:lnTo>
                      <a:pt x="21599" y="5815"/>
                    </a:lnTo>
                    <a:lnTo>
                      <a:pt x="21437" y="5513"/>
                    </a:lnTo>
                    <a:lnTo>
                      <a:pt x="21031" y="5211"/>
                    </a:lnTo>
                    <a:lnTo>
                      <a:pt x="20381" y="4984"/>
                    </a:lnTo>
                    <a:lnTo>
                      <a:pt x="20219" y="4909"/>
                    </a:lnTo>
                    <a:lnTo>
                      <a:pt x="19894" y="4682"/>
                    </a:lnTo>
                    <a:lnTo>
                      <a:pt x="19407" y="4380"/>
                    </a:lnTo>
                    <a:lnTo>
                      <a:pt x="18839" y="4153"/>
                    </a:lnTo>
                    <a:lnTo>
                      <a:pt x="18189" y="4153"/>
                    </a:lnTo>
                    <a:lnTo>
                      <a:pt x="16159" y="3549"/>
                    </a:lnTo>
                    <a:lnTo>
                      <a:pt x="15996" y="3474"/>
                    </a:lnTo>
                    <a:lnTo>
                      <a:pt x="15834" y="3549"/>
                    </a:lnTo>
                    <a:lnTo>
                      <a:pt x="15672" y="3549"/>
                    </a:lnTo>
                    <a:lnTo>
                      <a:pt x="15509" y="3625"/>
                    </a:lnTo>
                    <a:lnTo>
                      <a:pt x="15428" y="3700"/>
                    </a:lnTo>
                    <a:lnTo>
                      <a:pt x="15347" y="3700"/>
                    </a:lnTo>
                    <a:lnTo>
                      <a:pt x="15509" y="3398"/>
                    </a:lnTo>
                    <a:lnTo>
                      <a:pt x="15509" y="3247"/>
                    </a:lnTo>
                    <a:lnTo>
                      <a:pt x="15590" y="3096"/>
                    </a:lnTo>
                    <a:lnTo>
                      <a:pt x="15590" y="3020"/>
                    </a:lnTo>
                    <a:lnTo>
                      <a:pt x="15428" y="2869"/>
                    </a:lnTo>
                    <a:lnTo>
                      <a:pt x="14697" y="2869"/>
                    </a:lnTo>
                    <a:lnTo>
                      <a:pt x="14535" y="2794"/>
                    </a:lnTo>
                    <a:lnTo>
                      <a:pt x="14291" y="2794"/>
                    </a:lnTo>
                    <a:lnTo>
                      <a:pt x="14048" y="2718"/>
                    </a:lnTo>
                    <a:lnTo>
                      <a:pt x="13398" y="2718"/>
                    </a:lnTo>
                    <a:lnTo>
                      <a:pt x="13154" y="2869"/>
                    </a:lnTo>
                    <a:lnTo>
                      <a:pt x="12911" y="2945"/>
                    </a:lnTo>
                    <a:lnTo>
                      <a:pt x="12424" y="3172"/>
                    </a:lnTo>
                    <a:lnTo>
                      <a:pt x="12099" y="3398"/>
                    </a:lnTo>
                    <a:lnTo>
                      <a:pt x="11612" y="3700"/>
                    </a:lnTo>
                    <a:lnTo>
                      <a:pt x="11287" y="3700"/>
                    </a:lnTo>
                    <a:lnTo>
                      <a:pt x="11612" y="3549"/>
                    </a:lnTo>
                    <a:lnTo>
                      <a:pt x="11774" y="3398"/>
                    </a:lnTo>
                    <a:lnTo>
                      <a:pt x="11855" y="3247"/>
                    </a:lnTo>
                    <a:lnTo>
                      <a:pt x="12099" y="3020"/>
                    </a:lnTo>
                    <a:lnTo>
                      <a:pt x="12180" y="2869"/>
                    </a:lnTo>
                    <a:lnTo>
                      <a:pt x="12505" y="2567"/>
                    </a:lnTo>
                    <a:lnTo>
                      <a:pt x="12667" y="2492"/>
                    </a:lnTo>
                    <a:lnTo>
                      <a:pt x="12830" y="2341"/>
                    </a:lnTo>
                    <a:lnTo>
                      <a:pt x="12992" y="2114"/>
                    </a:lnTo>
                    <a:lnTo>
                      <a:pt x="13073" y="1888"/>
                    </a:lnTo>
                    <a:lnTo>
                      <a:pt x="13073" y="1737"/>
                    </a:lnTo>
                    <a:lnTo>
                      <a:pt x="12667" y="981"/>
                    </a:lnTo>
                    <a:lnTo>
                      <a:pt x="12018" y="302"/>
                    </a:lnTo>
                    <a:lnTo>
                      <a:pt x="11774" y="151"/>
                    </a:lnTo>
                    <a:lnTo>
                      <a:pt x="11449" y="0"/>
                    </a:lnTo>
                    <a:lnTo>
                      <a:pt x="11206" y="151"/>
                    </a:lnTo>
                    <a:lnTo>
                      <a:pt x="11124" y="302"/>
                    </a:lnTo>
                    <a:lnTo>
                      <a:pt x="10962" y="302"/>
                    </a:lnTo>
                    <a:lnTo>
                      <a:pt x="10962" y="377"/>
                    </a:lnTo>
                    <a:lnTo>
                      <a:pt x="10800" y="679"/>
                    </a:lnTo>
                    <a:lnTo>
                      <a:pt x="10718" y="755"/>
                    </a:lnTo>
                    <a:lnTo>
                      <a:pt x="10718" y="830"/>
                    </a:lnTo>
                    <a:lnTo>
                      <a:pt x="10637" y="906"/>
                    </a:lnTo>
                    <a:lnTo>
                      <a:pt x="10393" y="906"/>
                    </a:lnTo>
                    <a:lnTo>
                      <a:pt x="10312" y="830"/>
                    </a:lnTo>
                    <a:lnTo>
                      <a:pt x="9906" y="830"/>
                    </a:lnTo>
                    <a:lnTo>
                      <a:pt x="9825" y="906"/>
                    </a:lnTo>
                    <a:lnTo>
                      <a:pt x="9500" y="906"/>
                    </a:lnTo>
                    <a:lnTo>
                      <a:pt x="9419" y="830"/>
                    </a:lnTo>
                    <a:lnTo>
                      <a:pt x="9257" y="830"/>
                    </a:lnTo>
                    <a:lnTo>
                      <a:pt x="9175" y="906"/>
                    </a:lnTo>
                    <a:lnTo>
                      <a:pt x="9094" y="906"/>
                    </a:lnTo>
                    <a:lnTo>
                      <a:pt x="8851" y="830"/>
                    </a:lnTo>
                    <a:lnTo>
                      <a:pt x="8851" y="1057"/>
                    </a:lnTo>
                    <a:lnTo>
                      <a:pt x="8688" y="1057"/>
                    </a:lnTo>
                    <a:lnTo>
                      <a:pt x="8607" y="981"/>
                    </a:lnTo>
                    <a:lnTo>
                      <a:pt x="8201" y="981"/>
                    </a:lnTo>
                    <a:lnTo>
                      <a:pt x="7876" y="1057"/>
                    </a:lnTo>
                    <a:lnTo>
                      <a:pt x="7795" y="1057"/>
                    </a:lnTo>
                    <a:lnTo>
                      <a:pt x="7470" y="1132"/>
                    </a:lnTo>
                    <a:lnTo>
                      <a:pt x="7470" y="226"/>
                    </a:lnTo>
                    <a:lnTo>
                      <a:pt x="7389" y="75"/>
                    </a:lnTo>
                    <a:lnTo>
                      <a:pt x="7145" y="75"/>
                    </a:lnTo>
                    <a:lnTo>
                      <a:pt x="7145" y="151"/>
                    </a:lnTo>
                    <a:lnTo>
                      <a:pt x="6983" y="302"/>
                    </a:lnTo>
                    <a:lnTo>
                      <a:pt x="6739" y="226"/>
                    </a:lnTo>
                    <a:lnTo>
                      <a:pt x="6333" y="377"/>
                    </a:lnTo>
                    <a:lnTo>
                      <a:pt x="6333" y="528"/>
                    </a:lnTo>
                    <a:lnTo>
                      <a:pt x="5765" y="604"/>
                    </a:lnTo>
                    <a:lnTo>
                      <a:pt x="5603" y="377"/>
                    </a:lnTo>
                    <a:lnTo>
                      <a:pt x="5440" y="377"/>
                    </a:lnTo>
                    <a:lnTo>
                      <a:pt x="5196" y="302"/>
                    </a:lnTo>
                    <a:lnTo>
                      <a:pt x="5034" y="302"/>
                    </a:lnTo>
                    <a:lnTo>
                      <a:pt x="4709" y="151"/>
                    </a:lnTo>
                    <a:lnTo>
                      <a:pt x="4709" y="377"/>
                    </a:lnTo>
                    <a:lnTo>
                      <a:pt x="4872" y="377"/>
                    </a:lnTo>
                    <a:lnTo>
                      <a:pt x="5034" y="528"/>
                    </a:lnTo>
                    <a:lnTo>
                      <a:pt x="5034" y="830"/>
                    </a:lnTo>
                    <a:lnTo>
                      <a:pt x="5196" y="981"/>
                    </a:lnTo>
                    <a:lnTo>
                      <a:pt x="5521" y="981"/>
                    </a:lnTo>
                    <a:lnTo>
                      <a:pt x="5521" y="1283"/>
                    </a:lnTo>
                    <a:lnTo>
                      <a:pt x="5196" y="1434"/>
                    </a:lnTo>
                    <a:lnTo>
                      <a:pt x="4466" y="2190"/>
                    </a:lnTo>
                    <a:lnTo>
                      <a:pt x="3735" y="1963"/>
                    </a:lnTo>
                    <a:lnTo>
                      <a:pt x="3572" y="1963"/>
                    </a:lnTo>
                    <a:lnTo>
                      <a:pt x="3410" y="1888"/>
                    </a:lnTo>
                    <a:lnTo>
                      <a:pt x="3166" y="1888"/>
                    </a:lnTo>
                    <a:lnTo>
                      <a:pt x="3166" y="1737"/>
                    </a:lnTo>
                    <a:lnTo>
                      <a:pt x="3085" y="1661"/>
                    </a:lnTo>
                    <a:lnTo>
                      <a:pt x="3085" y="1586"/>
                    </a:lnTo>
                    <a:lnTo>
                      <a:pt x="3004" y="1510"/>
                    </a:lnTo>
                    <a:lnTo>
                      <a:pt x="2111" y="1661"/>
                    </a:lnTo>
                    <a:lnTo>
                      <a:pt x="2111" y="1963"/>
                    </a:lnTo>
                    <a:lnTo>
                      <a:pt x="2436" y="1963"/>
                    </a:lnTo>
                    <a:lnTo>
                      <a:pt x="2517" y="2341"/>
                    </a:lnTo>
                    <a:lnTo>
                      <a:pt x="2436" y="2265"/>
                    </a:lnTo>
                    <a:lnTo>
                      <a:pt x="2354" y="2265"/>
                    </a:lnTo>
                    <a:lnTo>
                      <a:pt x="2273" y="2190"/>
                    </a:lnTo>
                    <a:lnTo>
                      <a:pt x="2192" y="2190"/>
                    </a:lnTo>
                    <a:lnTo>
                      <a:pt x="2111" y="2265"/>
                    </a:lnTo>
                    <a:lnTo>
                      <a:pt x="2111" y="2643"/>
                    </a:lnTo>
                    <a:lnTo>
                      <a:pt x="2192" y="2643"/>
                    </a:lnTo>
                    <a:lnTo>
                      <a:pt x="2192" y="2718"/>
                    </a:lnTo>
                    <a:lnTo>
                      <a:pt x="2354" y="3020"/>
                    </a:lnTo>
                    <a:lnTo>
                      <a:pt x="2436" y="3247"/>
                    </a:lnTo>
                    <a:lnTo>
                      <a:pt x="2436" y="3625"/>
                    </a:lnTo>
                    <a:lnTo>
                      <a:pt x="2111" y="4758"/>
                    </a:lnTo>
                    <a:lnTo>
                      <a:pt x="2030" y="4984"/>
                    </a:lnTo>
                    <a:lnTo>
                      <a:pt x="1786" y="4984"/>
                    </a:lnTo>
                    <a:lnTo>
                      <a:pt x="1705" y="4909"/>
                    </a:lnTo>
                    <a:lnTo>
                      <a:pt x="1542" y="4909"/>
                    </a:lnTo>
                    <a:lnTo>
                      <a:pt x="1461" y="4984"/>
                    </a:lnTo>
                    <a:lnTo>
                      <a:pt x="1299" y="4984"/>
                    </a:lnTo>
                    <a:lnTo>
                      <a:pt x="1136" y="5060"/>
                    </a:lnTo>
                    <a:lnTo>
                      <a:pt x="893" y="5060"/>
                    </a:lnTo>
                    <a:lnTo>
                      <a:pt x="406" y="5513"/>
                    </a:lnTo>
                    <a:lnTo>
                      <a:pt x="406" y="5739"/>
                    </a:lnTo>
                    <a:lnTo>
                      <a:pt x="324" y="5890"/>
                    </a:lnTo>
                    <a:lnTo>
                      <a:pt x="243" y="5966"/>
                    </a:lnTo>
                    <a:lnTo>
                      <a:pt x="243" y="6041"/>
                    </a:lnTo>
                    <a:lnTo>
                      <a:pt x="81" y="6193"/>
                    </a:lnTo>
                    <a:lnTo>
                      <a:pt x="0" y="6344"/>
                    </a:lnTo>
                    <a:lnTo>
                      <a:pt x="0" y="6872"/>
                    </a:lnTo>
                    <a:lnTo>
                      <a:pt x="81" y="7099"/>
                    </a:lnTo>
                    <a:lnTo>
                      <a:pt x="81" y="7174"/>
                    </a:lnTo>
                    <a:lnTo>
                      <a:pt x="162" y="7250"/>
                    </a:lnTo>
                    <a:lnTo>
                      <a:pt x="162" y="7325"/>
                    </a:lnTo>
                    <a:lnTo>
                      <a:pt x="243" y="7476"/>
                    </a:lnTo>
                    <a:lnTo>
                      <a:pt x="243" y="7552"/>
                    </a:lnTo>
                    <a:lnTo>
                      <a:pt x="162" y="7552"/>
                    </a:lnTo>
                    <a:lnTo>
                      <a:pt x="243" y="7552"/>
                    </a:lnTo>
                    <a:lnTo>
                      <a:pt x="406" y="7476"/>
                    </a:lnTo>
                    <a:lnTo>
                      <a:pt x="487" y="7476"/>
                    </a:lnTo>
                    <a:lnTo>
                      <a:pt x="730" y="7703"/>
                    </a:lnTo>
                    <a:lnTo>
                      <a:pt x="893" y="7703"/>
                    </a:lnTo>
                    <a:lnTo>
                      <a:pt x="1055" y="7779"/>
                    </a:lnTo>
                    <a:lnTo>
                      <a:pt x="1218" y="7779"/>
                    </a:lnTo>
                    <a:lnTo>
                      <a:pt x="1380" y="7703"/>
                    </a:lnTo>
                    <a:lnTo>
                      <a:pt x="1542" y="7552"/>
                    </a:lnTo>
                    <a:lnTo>
                      <a:pt x="1705" y="7476"/>
                    </a:lnTo>
                    <a:lnTo>
                      <a:pt x="1705" y="7401"/>
                    </a:lnTo>
                    <a:lnTo>
                      <a:pt x="1705" y="8458"/>
                    </a:lnTo>
                    <a:lnTo>
                      <a:pt x="1786" y="8458"/>
                    </a:lnTo>
                    <a:lnTo>
                      <a:pt x="1948" y="8534"/>
                    </a:lnTo>
                    <a:lnTo>
                      <a:pt x="2842" y="8534"/>
                    </a:lnTo>
                    <a:lnTo>
                      <a:pt x="3004" y="8458"/>
                    </a:lnTo>
                    <a:lnTo>
                      <a:pt x="3166" y="8458"/>
                    </a:lnTo>
                    <a:lnTo>
                      <a:pt x="3491" y="8156"/>
                    </a:lnTo>
                    <a:lnTo>
                      <a:pt x="3491" y="8081"/>
                    </a:lnTo>
                    <a:lnTo>
                      <a:pt x="3816" y="7930"/>
                    </a:lnTo>
                    <a:lnTo>
                      <a:pt x="3897" y="7930"/>
                    </a:lnTo>
                    <a:lnTo>
                      <a:pt x="4060" y="8005"/>
                    </a:lnTo>
                    <a:lnTo>
                      <a:pt x="4141" y="8005"/>
                    </a:lnTo>
                    <a:lnTo>
                      <a:pt x="4384" y="7779"/>
                    </a:lnTo>
                    <a:lnTo>
                      <a:pt x="4547" y="7779"/>
                    </a:lnTo>
                    <a:lnTo>
                      <a:pt x="4547" y="8534"/>
                    </a:lnTo>
                    <a:lnTo>
                      <a:pt x="4628" y="8987"/>
                    </a:lnTo>
                    <a:lnTo>
                      <a:pt x="5034" y="9365"/>
                    </a:lnTo>
                    <a:lnTo>
                      <a:pt x="5521" y="9516"/>
                    </a:lnTo>
                    <a:lnTo>
                      <a:pt x="5927" y="9440"/>
                    </a:lnTo>
                    <a:lnTo>
                      <a:pt x="6009" y="9516"/>
                    </a:lnTo>
                    <a:lnTo>
                      <a:pt x="6009" y="9591"/>
                    </a:lnTo>
                    <a:lnTo>
                      <a:pt x="6171" y="9893"/>
                    </a:lnTo>
                    <a:lnTo>
                      <a:pt x="6333" y="10044"/>
                    </a:lnTo>
                    <a:lnTo>
                      <a:pt x="6577" y="10120"/>
                    </a:lnTo>
                    <a:lnTo>
                      <a:pt x="6658" y="10120"/>
                    </a:lnTo>
                    <a:lnTo>
                      <a:pt x="6739" y="10271"/>
                    </a:lnTo>
                    <a:lnTo>
                      <a:pt x="6902" y="10346"/>
                    </a:lnTo>
                    <a:lnTo>
                      <a:pt x="7064" y="10497"/>
                    </a:lnTo>
                    <a:lnTo>
                      <a:pt x="7227" y="10724"/>
                    </a:lnTo>
                    <a:lnTo>
                      <a:pt x="7389" y="10875"/>
                    </a:lnTo>
                    <a:lnTo>
                      <a:pt x="7389" y="11102"/>
                    </a:lnTo>
                    <a:lnTo>
                      <a:pt x="8363" y="11177"/>
                    </a:lnTo>
                    <a:lnTo>
                      <a:pt x="8363" y="11253"/>
                    </a:lnTo>
                    <a:lnTo>
                      <a:pt x="8282" y="11328"/>
                    </a:lnTo>
                    <a:lnTo>
                      <a:pt x="8282" y="11630"/>
                    </a:lnTo>
                    <a:lnTo>
                      <a:pt x="8445" y="11781"/>
                    </a:lnTo>
                    <a:lnTo>
                      <a:pt x="8526" y="11781"/>
                    </a:lnTo>
                    <a:lnTo>
                      <a:pt x="8607" y="11857"/>
                    </a:lnTo>
                    <a:lnTo>
                      <a:pt x="8688" y="12008"/>
                    </a:lnTo>
                    <a:lnTo>
                      <a:pt x="8688" y="13669"/>
                    </a:lnTo>
                    <a:lnTo>
                      <a:pt x="8526" y="13896"/>
                    </a:lnTo>
                    <a:lnTo>
                      <a:pt x="8607" y="13896"/>
                    </a:lnTo>
                    <a:lnTo>
                      <a:pt x="8607" y="13972"/>
                    </a:lnTo>
                    <a:lnTo>
                      <a:pt x="8688" y="14047"/>
                    </a:lnTo>
                    <a:lnTo>
                      <a:pt x="8688" y="14349"/>
                    </a:lnTo>
                    <a:lnTo>
                      <a:pt x="8769" y="14500"/>
                    </a:lnTo>
                    <a:lnTo>
                      <a:pt x="8769" y="14953"/>
                    </a:lnTo>
                    <a:lnTo>
                      <a:pt x="8851" y="15406"/>
                    </a:lnTo>
                    <a:lnTo>
                      <a:pt x="8851" y="15709"/>
                    </a:lnTo>
                    <a:lnTo>
                      <a:pt x="8932" y="15709"/>
                    </a:lnTo>
                    <a:lnTo>
                      <a:pt x="8932" y="15784"/>
                    </a:lnTo>
                    <a:lnTo>
                      <a:pt x="9013" y="15860"/>
                    </a:lnTo>
                    <a:lnTo>
                      <a:pt x="9175" y="15860"/>
                    </a:lnTo>
                    <a:lnTo>
                      <a:pt x="9581" y="16011"/>
                    </a:lnTo>
                    <a:lnTo>
                      <a:pt x="9663" y="15935"/>
                    </a:lnTo>
                    <a:lnTo>
                      <a:pt x="9987" y="15935"/>
                    </a:lnTo>
                    <a:lnTo>
                      <a:pt x="10069" y="16011"/>
                    </a:lnTo>
                    <a:lnTo>
                      <a:pt x="10312" y="16464"/>
                    </a:lnTo>
                    <a:lnTo>
                      <a:pt x="10393" y="16690"/>
                    </a:lnTo>
                    <a:lnTo>
                      <a:pt x="10393" y="16917"/>
                    </a:lnTo>
                    <a:lnTo>
                      <a:pt x="10556" y="16993"/>
                    </a:lnTo>
                    <a:lnTo>
                      <a:pt x="10718" y="16993"/>
                    </a:lnTo>
                    <a:lnTo>
                      <a:pt x="10800" y="17068"/>
                    </a:lnTo>
                    <a:lnTo>
                      <a:pt x="10881" y="17068"/>
                    </a:lnTo>
                    <a:lnTo>
                      <a:pt x="10962" y="17144"/>
                    </a:lnTo>
                    <a:lnTo>
                      <a:pt x="10962" y="17597"/>
                    </a:lnTo>
                    <a:lnTo>
                      <a:pt x="10800" y="17823"/>
                    </a:lnTo>
                    <a:lnTo>
                      <a:pt x="10475" y="18125"/>
                    </a:lnTo>
                    <a:lnTo>
                      <a:pt x="10069" y="18427"/>
                    </a:lnTo>
                    <a:lnTo>
                      <a:pt x="9744" y="18654"/>
                    </a:lnTo>
                    <a:lnTo>
                      <a:pt x="9500" y="18881"/>
                    </a:lnTo>
                    <a:lnTo>
                      <a:pt x="9419" y="18881"/>
                    </a:lnTo>
                    <a:lnTo>
                      <a:pt x="9338" y="18956"/>
                    </a:lnTo>
                    <a:lnTo>
                      <a:pt x="9257" y="19107"/>
                    </a:lnTo>
                    <a:lnTo>
                      <a:pt x="8932" y="19409"/>
                    </a:lnTo>
                    <a:lnTo>
                      <a:pt x="8769" y="19711"/>
                    </a:lnTo>
                    <a:lnTo>
                      <a:pt x="8769" y="19787"/>
                    </a:lnTo>
                    <a:lnTo>
                      <a:pt x="8851" y="19787"/>
                    </a:lnTo>
                    <a:lnTo>
                      <a:pt x="8932" y="19711"/>
                    </a:lnTo>
                    <a:lnTo>
                      <a:pt x="9094" y="19787"/>
                    </a:lnTo>
                    <a:lnTo>
                      <a:pt x="9338" y="20013"/>
                    </a:lnTo>
                    <a:lnTo>
                      <a:pt x="9744" y="20316"/>
                    </a:lnTo>
                    <a:lnTo>
                      <a:pt x="9744" y="20391"/>
                    </a:lnTo>
                    <a:lnTo>
                      <a:pt x="9906" y="20391"/>
                    </a:lnTo>
                    <a:lnTo>
                      <a:pt x="10069" y="20467"/>
                    </a:lnTo>
                    <a:lnTo>
                      <a:pt x="10312" y="20542"/>
                    </a:lnTo>
                    <a:lnTo>
                      <a:pt x="10637" y="20693"/>
                    </a:lnTo>
                    <a:lnTo>
                      <a:pt x="10718" y="20844"/>
                    </a:lnTo>
                    <a:lnTo>
                      <a:pt x="11287" y="21448"/>
                    </a:lnTo>
                    <a:lnTo>
                      <a:pt x="11449" y="21600"/>
                    </a:lnTo>
                    <a:lnTo>
                      <a:pt x="11774" y="2122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6" name="AutoShape 110"/>
              <p:cNvSpPr>
                <a:spLocks/>
              </p:cNvSpPr>
              <p:nvPr/>
            </p:nvSpPr>
            <p:spPr bwMode="auto">
              <a:xfrm>
                <a:off x="230198" y="496751"/>
                <a:ext cx="168275" cy="79172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21371"/>
                    </a:moveTo>
                    <a:lnTo>
                      <a:pt x="20736" y="21485"/>
                    </a:lnTo>
                    <a:lnTo>
                      <a:pt x="19584" y="21371"/>
                    </a:lnTo>
                    <a:lnTo>
                      <a:pt x="18720" y="21200"/>
                    </a:lnTo>
                    <a:lnTo>
                      <a:pt x="17567" y="21257"/>
                    </a:lnTo>
                    <a:lnTo>
                      <a:pt x="16128" y="21428"/>
                    </a:lnTo>
                    <a:lnTo>
                      <a:pt x="15264" y="21600"/>
                    </a:lnTo>
                    <a:lnTo>
                      <a:pt x="14688" y="21371"/>
                    </a:lnTo>
                    <a:lnTo>
                      <a:pt x="14976" y="21085"/>
                    </a:lnTo>
                    <a:lnTo>
                      <a:pt x="14688" y="20914"/>
                    </a:lnTo>
                    <a:lnTo>
                      <a:pt x="13248" y="21028"/>
                    </a:lnTo>
                    <a:lnTo>
                      <a:pt x="13248" y="21371"/>
                    </a:lnTo>
                    <a:lnTo>
                      <a:pt x="10944" y="21371"/>
                    </a:lnTo>
                    <a:lnTo>
                      <a:pt x="10080" y="20800"/>
                    </a:lnTo>
                    <a:lnTo>
                      <a:pt x="7776" y="20857"/>
                    </a:lnTo>
                    <a:lnTo>
                      <a:pt x="7776" y="20457"/>
                    </a:lnTo>
                    <a:lnTo>
                      <a:pt x="9504" y="20342"/>
                    </a:lnTo>
                    <a:lnTo>
                      <a:pt x="10368" y="19828"/>
                    </a:lnTo>
                    <a:lnTo>
                      <a:pt x="10368" y="19714"/>
                    </a:lnTo>
                    <a:lnTo>
                      <a:pt x="9504" y="19542"/>
                    </a:lnTo>
                    <a:lnTo>
                      <a:pt x="8927" y="19485"/>
                    </a:lnTo>
                    <a:lnTo>
                      <a:pt x="8064" y="19314"/>
                    </a:lnTo>
                    <a:lnTo>
                      <a:pt x="6624" y="19314"/>
                    </a:lnTo>
                    <a:lnTo>
                      <a:pt x="5471" y="19428"/>
                    </a:lnTo>
                    <a:lnTo>
                      <a:pt x="4896" y="19542"/>
                    </a:lnTo>
                    <a:lnTo>
                      <a:pt x="4896" y="19600"/>
                    </a:lnTo>
                    <a:lnTo>
                      <a:pt x="287" y="18685"/>
                    </a:lnTo>
                    <a:lnTo>
                      <a:pt x="0" y="18342"/>
                    </a:lnTo>
                    <a:lnTo>
                      <a:pt x="0" y="17142"/>
                    </a:lnTo>
                    <a:lnTo>
                      <a:pt x="575" y="16457"/>
                    </a:lnTo>
                    <a:lnTo>
                      <a:pt x="863" y="15828"/>
                    </a:lnTo>
                    <a:lnTo>
                      <a:pt x="1151" y="15428"/>
                    </a:lnTo>
                    <a:lnTo>
                      <a:pt x="1151" y="15257"/>
                    </a:lnTo>
                    <a:lnTo>
                      <a:pt x="3743" y="14571"/>
                    </a:lnTo>
                    <a:lnTo>
                      <a:pt x="4319" y="13828"/>
                    </a:lnTo>
                    <a:lnTo>
                      <a:pt x="4319" y="12914"/>
                    </a:lnTo>
                    <a:lnTo>
                      <a:pt x="2303" y="12342"/>
                    </a:lnTo>
                    <a:lnTo>
                      <a:pt x="4896" y="11828"/>
                    </a:lnTo>
                    <a:lnTo>
                      <a:pt x="5184" y="11371"/>
                    </a:lnTo>
                    <a:lnTo>
                      <a:pt x="4032" y="11371"/>
                    </a:lnTo>
                    <a:lnTo>
                      <a:pt x="4607" y="11085"/>
                    </a:lnTo>
                    <a:lnTo>
                      <a:pt x="5471" y="11085"/>
                    </a:lnTo>
                    <a:lnTo>
                      <a:pt x="6624" y="10971"/>
                    </a:lnTo>
                    <a:lnTo>
                      <a:pt x="6911" y="10514"/>
                    </a:lnTo>
                    <a:lnTo>
                      <a:pt x="6911" y="10228"/>
                    </a:lnTo>
                    <a:lnTo>
                      <a:pt x="7199" y="9942"/>
                    </a:lnTo>
                    <a:lnTo>
                      <a:pt x="7776" y="9485"/>
                    </a:lnTo>
                    <a:lnTo>
                      <a:pt x="6624" y="9599"/>
                    </a:lnTo>
                    <a:lnTo>
                      <a:pt x="6048" y="9828"/>
                    </a:lnTo>
                    <a:lnTo>
                      <a:pt x="5760" y="9885"/>
                    </a:lnTo>
                    <a:lnTo>
                      <a:pt x="5760" y="9942"/>
                    </a:lnTo>
                    <a:lnTo>
                      <a:pt x="5471" y="10057"/>
                    </a:lnTo>
                    <a:lnTo>
                      <a:pt x="5471" y="10514"/>
                    </a:lnTo>
                    <a:lnTo>
                      <a:pt x="4896" y="10742"/>
                    </a:lnTo>
                    <a:lnTo>
                      <a:pt x="4607" y="10800"/>
                    </a:lnTo>
                    <a:lnTo>
                      <a:pt x="4319" y="10800"/>
                    </a:lnTo>
                    <a:lnTo>
                      <a:pt x="4319" y="10857"/>
                    </a:lnTo>
                    <a:lnTo>
                      <a:pt x="4032" y="10057"/>
                    </a:lnTo>
                    <a:lnTo>
                      <a:pt x="5760" y="8971"/>
                    </a:lnTo>
                    <a:lnTo>
                      <a:pt x="6624" y="8057"/>
                    </a:lnTo>
                    <a:lnTo>
                      <a:pt x="7199" y="7428"/>
                    </a:lnTo>
                    <a:lnTo>
                      <a:pt x="7199" y="6514"/>
                    </a:lnTo>
                    <a:lnTo>
                      <a:pt x="8064" y="6114"/>
                    </a:lnTo>
                    <a:lnTo>
                      <a:pt x="8639" y="5714"/>
                    </a:lnTo>
                    <a:lnTo>
                      <a:pt x="9216" y="5428"/>
                    </a:lnTo>
                    <a:lnTo>
                      <a:pt x="9504" y="5314"/>
                    </a:lnTo>
                    <a:lnTo>
                      <a:pt x="9504" y="4685"/>
                    </a:lnTo>
                    <a:lnTo>
                      <a:pt x="9792" y="4571"/>
                    </a:lnTo>
                    <a:lnTo>
                      <a:pt x="9792" y="4285"/>
                    </a:lnTo>
                    <a:lnTo>
                      <a:pt x="10080" y="4171"/>
                    </a:lnTo>
                    <a:lnTo>
                      <a:pt x="10080" y="3314"/>
                    </a:lnTo>
                    <a:lnTo>
                      <a:pt x="9792" y="3142"/>
                    </a:lnTo>
                    <a:lnTo>
                      <a:pt x="10080" y="3028"/>
                    </a:lnTo>
                    <a:lnTo>
                      <a:pt x="10080" y="2857"/>
                    </a:lnTo>
                    <a:lnTo>
                      <a:pt x="10368" y="2742"/>
                    </a:lnTo>
                    <a:lnTo>
                      <a:pt x="10368" y="2514"/>
                    </a:lnTo>
                    <a:lnTo>
                      <a:pt x="10655" y="2114"/>
                    </a:lnTo>
                    <a:lnTo>
                      <a:pt x="10368" y="1599"/>
                    </a:lnTo>
                    <a:lnTo>
                      <a:pt x="9792" y="1028"/>
                    </a:lnTo>
                    <a:lnTo>
                      <a:pt x="9216" y="857"/>
                    </a:lnTo>
                    <a:lnTo>
                      <a:pt x="8639" y="628"/>
                    </a:lnTo>
                    <a:lnTo>
                      <a:pt x="7776" y="457"/>
                    </a:lnTo>
                    <a:lnTo>
                      <a:pt x="6911" y="342"/>
                    </a:lnTo>
                    <a:lnTo>
                      <a:pt x="6624" y="285"/>
                    </a:lnTo>
                    <a:lnTo>
                      <a:pt x="7199" y="228"/>
                    </a:lnTo>
                    <a:lnTo>
                      <a:pt x="7776" y="228"/>
                    </a:lnTo>
                    <a:lnTo>
                      <a:pt x="8639" y="171"/>
                    </a:lnTo>
                    <a:lnTo>
                      <a:pt x="9504" y="57"/>
                    </a:lnTo>
                    <a:lnTo>
                      <a:pt x="10368" y="0"/>
                    </a:lnTo>
                    <a:lnTo>
                      <a:pt x="10368" y="57"/>
                    </a:lnTo>
                    <a:lnTo>
                      <a:pt x="10655" y="228"/>
                    </a:lnTo>
                    <a:lnTo>
                      <a:pt x="11520" y="514"/>
                    </a:lnTo>
                    <a:lnTo>
                      <a:pt x="12960" y="971"/>
                    </a:lnTo>
                    <a:lnTo>
                      <a:pt x="14111" y="1314"/>
                    </a:lnTo>
                    <a:lnTo>
                      <a:pt x="14400" y="1314"/>
                    </a:lnTo>
                    <a:lnTo>
                      <a:pt x="14400" y="1371"/>
                    </a:lnTo>
                    <a:lnTo>
                      <a:pt x="14688" y="1485"/>
                    </a:lnTo>
                    <a:lnTo>
                      <a:pt x="14688" y="1714"/>
                    </a:lnTo>
                    <a:lnTo>
                      <a:pt x="15840" y="3028"/>
                    </a:lnTo>
                    <a:lnTo>
                      <a:pt x="16128" y="3028"/>
                    </a:lnTo>
                    <a:lnTo>
                      <a:pt x="16416" y="3085"/>
                    </a:lnTo>
                    <a:lnTo>
                      <a:pt x="16704" y="3085"/>
                    </a:lnTo>
                    <a:lnTo>
                      <a:pt x="16992" y="3028"/>
                    </a:lnTo>
                    <a:lnTo>
                      <a:pt x="16992" y="3542"/>
                    </a:lnTo>
                    <a:lnTo>
                      <a:pt x="16704" y="3542"/>
                    </a:lnTo>
                    <a:lnTo>
                      <a:pt x="15552" y="3771"/>
                    </a:lnTo>
                    <a:lnTo>
                      <a:pt x="15264" y="3942"/>
                    </a:lnTo>
                    <a:lnTo>
                      <a:pt x="14976" y="4171"/>
                    </a:lnTo>
                    <a:lnTo>
                      <a:pt x="14111" y="4514"/>
                    </a:lnTo>
                    <a:lnTo>
                      <a:pt x="13248" y="4799"/>
                    </a:lnTo>
                    <a:lnTo>
                      <a:pt x="12672" y="5085"/>
                    </a:lnTo>
                    <a:lnTo>
                      <a:pt x="12383" y="5314"/>
                    </a:lnTo>
                    <a:lnTo>
                      <a:pt x="12096" y="5485"/>
                    </a:lnTo>
                    <a:lnTo>
                      <a:pt x="12096" y="5714"/>
                    </a:lnTo>
                    <a:lnTo>
                      <a:pt x="11808" y="6114"/>
                    </a:lnTo>
                    <a:lnTo>
                      <a:pt x="12096" y="6628"/>
                    </a:lnTo>
                    <a:lnTo>
                      <a:pt x="11808" y="9200"/>
                    </a:lnTo>
                    <a:lnTo>
                      <a:pt x="11808" y="9257"/>
                    </a:lnTo>
                    <a:lnTo>
                      <a:pt x="10944" y="9428"/>
                    </a:lnTo>
                    <a:lnTo>
                      <a:pt x="10655" y="9542"/>
                    </a:lnTo>
                    <a:lnTo>
                      <a:pt x="10080" y="9657"/>
                    </a:lnTo>
                    <a:lnTo>
                      <a:pt x="9792" y="9828"/>
                    </a:lnTo>
                    <a:lnTo>
                      <a:pt x="9504" y="9942"/>
                    </a:lnTo>
                    <a:lnTo>
                      <a:pt x="9216" y="10000"/>
                    </a:lnTo>
                    <a:lnTo>
                      <a:pt x="8639" y="10514"/>
                    </a:lnTo>
                    <a:lnTo>
                      <a:pt x="8352" y="10571"/>
                    </a:lnTo>
                    <a:lnTo>
                      <a:pt x="8352" y="10628"/>
                    </a:lnTo>
                    <a:lnTo>
                      <a:pt x="8639" y="10857"/>
                    </a:lnTo>
                    <a:lnTo>
                      <a:pt x="8352" y="11142"/>
                    </a:lnTo>
                    <a:lnTo>
                      <a:pt x="8639" y="11371"/>
                    </a:lnTo>
                    <a:lnTo>
                      <a:pt x="8352" y="11714"/>
                    </a:lnTo>
                    <a:lnTo>
                      <a:pt x="7776" y="11771"/>
                    </a:lnTo>
                    <a:lnTo>
                      <a:pt x="7776" y="12000"/>
                    </a:lnTo>
                    <a:lnTo>
                      <a:pt x="8064" y="12000"/>
                    </a:lnTo>
                    <a:lnTo>
                      <a:pt x="8064" y="13200"/>
                    </a:lnTo>
                    <a:lnTo>
                      <a:pt x="7776" y="13314"/>
                    </a:lnTo>
                    <a:lnTo>
                      <a:pt x="7776" y="13485"/>
                    </a:lnTo>
                    <a:lnTo>
                      <a:pt x="8064" y="13542"/>
                    </a:lnTo>
                    <a:lnTo>
                      <a:pt x="8064" y="13600"/>
                    </a:lnTo>
                    <a:lnTo>
                      <a:pt x="8352" y="13657"/>
                    </a:lnTo>
                    <a:lnTo>
                      <a:pt x="8352" y="14514"/>
                    </a:lnTo>
                    <a:lnTo>
                      <a:pt x="8064" y="14742"/>
                    </a:lnTo>
                    <a:lnTo>
                      <a:pt x="8064" y="14800"/>
                    </a:lnTo>
                    <a:lnTo>
                      <a:pt x="7488" y="14857"/>
                    </a:lnTo>
                    <a:lnTo>
                      <a:pt x="6048" y="15142"/>
                    </a:lnTo>
                    <a:lnTo>
                      <a:pt x="5760" y="15257"/>
                    </a:lnTo>
                    <a:lnTo>
                      <a:pt x="5471" y="15428"/>
                    </a:lnTo>
                    <a:lnTo>
                      <a:pt x="5471" y="17657"/>
                    </a:lnTo>
                    <a:lnTo>
                      <a:pt x="5184" y="17714"/>
                    </a:lnTo>
                    <a:lnTo>
                      <a:pt x="5184" y="17828"/>
                    </a:lnTo>
                    <a:lnTo>
                      <a:pt x="5471" y="18000"/>
                    </a:lnTo>
                    <a:lnTo>
                      <a:pt x="5471" y="18342"/>
                    </a:lnTo>
                    <a:lnTo>
                      <a:pt x="7199" y="18742"/>
                    </a:lnTo>
                    <a:lnTo>
                      <a:pt x="12960" y="18742"/>
                    </a:lnTo>
                    <a:lnTo>
                      <a:pt x="12960" y="19085"/>
                    </a:lnTo>
                    <a:lnTo>
                      <a:pt x="13248" y="19314"/>
                    </a:lnTo>
                    <a:lnTo>
                      <a:pt x="13248" y="20000"/>
                    </a:lnTo>
                    <a:lnTo>
                      <a:pt x="13823" y="20742"/>
                    </a:lnTo>
                    <a:lnTo>
                      <a:pt x="19584" y="20800"/>
                    </a:lnTo>
                    <a:lnTo>
                      <a:pt x="21600" y="2137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7" name="AutoShape 111"/>
              <p:cNvSpPr>
                <a:spLocks/>
              </p:cNvSpPr>
              <p:nvPr/>
            </p:nvSpPr>
            <p:spPr bwMode="auto">
              <a:xfrm>
                <a:off x="433398" y="549109"/>
                <a:ext cx="123825" cy="13169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207" y="16457"/>
                    </a:moveTo>
                    <a:lnTo>
                      <a:pt x="21600" y="16114"/>
                    </a:lnTo>
                    <a:lnTo>
                      <a:pt x="21207" y="15428"/>
                    </a:lnTo>
                    <a:lnTo>
                      <a:pt x="21207" y="14399"/>
                    </a:lnTo>
                    <a:lnTo>
                      <a:pt x="20029" y="12342"/>
                    </a:lnTo>
                    <a:lnTo>
                      <a:pt x="19636" y="11999"/>
                    </a:lnTo>
                    <a:lnTo>
                      <a:pt x="17672" y="11999"/>
                    </a:lnTo>
                    <a:lnTo>
                      <a:pt x="17672" y="12342"/>
                    </a:lnTo>
                    <a:lnTo>
                      <a:pt x="15316" y="11657"/>
                    </a:lnTo>
                    <a:lnTo>
                      <a:pt x="14923" y="11657"/>
                    </a:lnTo>
                    <a:lnTo>
                      <a:pt x="14138" y="10971"/>
                    </a:lnTo>
                    <a:lnTo>
                      <a:pt x="14138" y="9257"/>
                    </a:lnTo>
                    <a:lnTo>
                      <a:pt x="13745" y="7199"/>
                    </a:lnTo>
                    <a:lnTo>
                      <a:pt x="13352" y="5485"/>
                    </a:lnTo>
                    <a:lnTo>
                      <a:pt x="13352" y="3085"/>
                    </a:lnTo>
                    <a:lnTo>
                      <a:pt x="12959" y="3085"/>
                    </a:lnTo>
                    <a:lnTo>
                      <a:pt x="10996" y="1371"/>
                    </a:lnTo>
                    <a:lnTo>
                      <a:pt x="10210" y="1028"/>
                    </a:lnTo>
                    <a:lnTo>
                      <a:pt x="9032" y="342"/>
                    </a:lnTo>
                    <a:lnTo>
                      <a:pt x="8247" y="342"/>
                    </a:lnTo>
                    <a:lnTo>
                      <a:pt x="7069" y="0"/>
                    </a:lnTo>
                    <a:lnTo>
                      <a:pt x="6676" y="342"/>
                    </a:lnTo>
                    <a:lnTo>
                      <a:pt x="5890" y="685"/>
                    </a:lnTo>
                    <a:lnTo>
                      <a:pt x="4712" y="1028"/>
                    </a:lnTo>
                    <a:lnTo>
                      <a:pt x="3534" y="1714"/>
                    </a:lnTo>
                    <a:lnTo>
                      <a:pt x="2356" y="2742"/>
                    </a:lnTo>
                    <a:lnTo>
                      <a:pt x="1570" y="4114"/>
                    </a:lnTo>
                    <a:lnTo>
                      <a:pt x="1178" y="4114"/>
                    </a:lnTo>
                    <a:lnTo>
                      <a:pt x="1178" y="4799"/>
                    </a:lnTo>
                    <a:lnTo>
                      <a:pt x="785" y="5485"/>
                    </a:lnTo>
                    <a:lnTo>
                      <a:pt x="392" y="6514"/>
                    </a:lnTo>
                    <a:lnTo>
                      <a:pt x="0" y="7885"/>
                    </a:lnTo>
                    <a:lnTo>
                      <a:pt x="0" y="9257"/>
                    </a:lnTo>
                    <a:lnTo>
                      <a:pt x="392" y="9599"/>
                    </a:lnTo>
                    <a:lnTo>
                      <a:pt x="1963" y="10285"/>
                    </a:lnTo>
                    <a:lnTo>
                      <a:pt x="5105" y="11314"/>
                    </a:lnTo>
                    <a:lnTo>
                      <a:pt x="6283" y="12342"/>
                    </a:lnTo>
                    <a:lnTo>
                      <a:pt x="12959" y="15428"/>
                    </a:lnTo>
                    <a:lnTo>
                      <a:pt x="9818" y="21599"/>
                    </a:lnTo>
                    <a:lnTo>
                      <a:pt x="20029" y="21599"/>
                    </a:lnTo>
                    <a:lnTo>
                      <a:pt x="20029" y="20571"/>
                    </a:lnTo>
                    <a:lnTo>
                      <a:pt x="20814" y="19199"/>
                    </a:lnTo>
                    <a:lnTo>
                      <a:pt x="20814" y="17828"/>
                    </a:lnTo>
                    <a:lnTo>
                      <a:pt x="21207" y="16799"/>
                    </a:lnTo>
                    <a:lnTo>
                      <a:pt x="21207" y="1645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8" name="AutoShape 112"/>
              <p:cNvSpPr>
                <a:spLocks/>
              </p:cNvSpPr>
              <p:nvPr/>
            </p:nvSpPr>
            <p:spPr bwMode="auto">
              <a:xfrm>
                <a:off x="68273" y="50908"/>
                <a:ext cx="57150" cy="7298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21599"/>
                    </a:moveTo>
                    <a:lnTo>
                      <a:pt x="20769" y="19748"/>
                    </a:lnTo>
                    <a:lnTo>
                      <a:pt x="18276" y="17897"/>
                    </a:lnTo>
                    <a:lnTo>
                      <a:pt x="18276" y="15428"/>
                    </a:lnTo>
                    <a:lnTo>
                      <a:pt x="19938" y="12959"/>
                    </a:lnTo>
                    <a:lnTo>
                      <a:pt x="19938" y="8022"/>
                    </a:lnTo>
                    <a:lnTo>
                      <a:pt x="20769" y="6171"/>
                    </a:lnTo>
                    <a:lnTo>
                      <a:pt x="20769" y="4319"/>
                    </a:lnTo>
                    <a:lnTo>
                      <a:pt x="21600" y="3085"/>
                    </a:lnTo>
                    <a:lnTo>
                      <a:pt x="21600" y="0"/>
                    </a:lnTo>
                    <a:lnTo>
                      <a:pt x="17446" y="0"/>
                    </a:lnTo>
                    <a:lnTo>
                      <a:pt x="16615" y="617"/>
                    </a:lnTo>
                    <a:lnTo>
                      <a:pt x="15784" y="0"/>
                    </a:lnTo>
                    <a:lnTo>
                      <a:pt x="14953" y="0"/>
                    </a:lnTo>
                    <a:lnTo>
                      <a:pt x="13292" y="1234"/>
                    </a:lnTo>
                    <a:lnTo>
                      <a:pt x="12461" y="3085"/>
                    </a:lnTo>
                    <a:lnTo>
                      <a:pt x="11630" y="4319"/>
                    </a:lnTo>
                    <a:lnTo>
                      <a:pt x="10800" y="4937"/>
                    </a:lnTo>
                    <a:lnTo>
                      <a:pt x="9969" y="6171"/>
                    </a:lnTo>
                    <a:lnTo>
                      <a:pt x="8307" y="6788"/>
                    </a:lnTo>
                    <a:lnTo>
                      <a:pt x="7476" y="6788"/>
                    </a:lnTo>
                    <a:lnTo>
                      <a:pt x="5815" y="8022"/>
                    </a:lnTo>
                    <a:lnTo>
                      <a:pt x="5815" y="9874"/>
                    </a:lnTo>
                    <a:lnTo>
                      <a:pt x="4153" y="11108"/>
                    </a:lnTo>
                    <a:lnTo>
                      <a:pt x="3323" y="11108"/>
                    </a:lnTo>
                    <a:lnTo>
                      <a:pt x="3323" y="11725"/>
                    </a:lnTo>
                    <a:lnTo>
                      <a:pt x="2492" y="12342"/>
                    </a:lnTo>
                    <a:lnTo>
                      <a:pt x="2492" y="12959"/>
                    </a:lnTo>
                    <a:lnTo>
                      <a:pt x="1661" y="13577"/>
                    </a:lnTo>
                    <a:lnTo>
                      <a:pt x="830" y="13577"/>
                    </a:lnTo>
                    <a:lnTo>
                      <a:pt x="0" y="12959"/>
                    </a:lnTo>
                    <a:lnTo>
                      <a:pt x="0" y="13577"/>
                    </a:lnTo>
                    <a:lnTo>
                      <a:pt x="3323" y="16045"/>
                    </a:lnTo>
                    <a:lnTo>
                      <a:pt x="5815" y="19748"/>
                    </a:lnTo>
                    <a:lnTo>
                      <a:pt x="6646" y="19748"/>
                    </a:lnTo>
                    <a:lnTo>
                      <a:pt x="7476" y="19131"/>
                    </a:lnTo>
                    <a:lnTo>
                      <a:pt x="8307" y="19131"/>
                    </a:lnTo>
                    <a:lnTo>
                      <a:pt x="9969" y="19748"/>
                    </a:lnTo>
                    <a:lnTo>
                      <a:pt x="10800" y="20365"/>
                    </a:lnTo>
                    <a:lnTo>
                      <a:pt x="17446" y="20365"/>
                    </a:lnTo>
                    <a:lnTo>
                      <a:pt x="18276" y="20982"/>
                    </a:lnTo>
                    <a:lnTo>
                      <a:pt x="19938" y="20982"/>
                    </a:lnTo>
                    <a:lnTo>
                      <a:pt x="19938" y="21599"/>
                    </a:lnTo>
                    <a:lnTo>
                      <a:pt x="21600" y="215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9" name="AutoShape 113"/>
              <p:cNvSpPr>
                <a:spLocks/>
              </p:cNvSpPr>
              <p:nvPr/>
            </p:nvSpPr>
            <p:spPr bwMode="auto">
              <a:xfrm>
                <a:off x="10" y="136"/>
                <a:ext cx="68263" cy="7774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11675"/>
                    </a:moveTo>
                    <a:lnTo>
                      <a:pt x="20880" y="12259"/>
                    </a:lnTo>
                    <a:lnTo>
                      <a:pt x="20159" y="13427"/>
                    </a:lnTo>
                    <a:lnTo>
                      <a:pt x="19439" y="14010"/>
                    </a:lnTo>
                    <a:lnTo>
                      <a:pt x="16559" y="15178"/>
                    </a:lnTo>
                    <a:lnTo>
                      <a:pt x="15840" y="15178"/>
                    </a:lnTo>
                    <a:lnTo>
                      <a:pt x="15119" y="15762"/>
                    </a:lnTo>
                    <a:lnTo>
                      <a:pt x="14399" y="16929"/>
                    </a:lnTo>
                    <a:lnTo>
                      <a:pt x="12959" y="18097"/>
                    </a:lnTo>
                    <a:lnTo>
                      <a:pt x="11520" y="18097"/>
                    </a:lnTo>
                    <a:lnTo>
                      <a:pt x="10800" y="18681"/>
                    </a:lnTo>
                    <a:lnTo>
                      <a:pt x="9359" y="19264"/>
                    </a:lnTo>
                    <a:lnTo>
                      <a:pt x="8639" y="19848"/>
                    </a:lnTo>
                    <a:lnTo>
                      <a:pt x="5759" y="21599"/>
                    </a:lnTo>
                    <a:lnTo>
                      <a:pt x="3599" y="20432"/>
                    </a:lnTo>
                    <a:lnTo>
                      <a:pt x="2159" y="19264"/>
                    </a:lnTo>
                    <a:lnTo>
                      <a:pt x="0" y="15762"/>
                    </a:lnTo>
                    <a:lnTo>
                      <a:pt x="719" y="15762"/>
                    </a:lnTo>
                    <a:lnTo>
                      <a:pt x="719" y="14594"/>
                    </a:lnTo>
                    <a:lnTo>
                      <a:pt x="1439" y="14010"/>
                    </a:lnTo>
                    <a:lnTo>
                      <a:pt x="2159" y="12843"/>
                    </a:lnTo>
                    <a:lnTo>
                      <a:pt x="2879" y="12259"/>
                    </a:lnTo>
                    <a:lnTo>
                      <a:pt x="2879" y="10508"/>
                    </a:lnTo>
                    <a:lnTo>
                      <a:pt x="2159" y="9924"/>
                    </a:lnTo>
                    <a:lnTo>
                      <a:pt x="2159" y="8172"/>
                    </a:lnTo>
                    <a:lnTo>
                      <a:pt x="11520" y="8172"/>
                    </a:lnTo>
                    <a:lnTo>
                      <a:pt x="11520" y="5254"/>
                    </a:lnTo>
                    <a:lnTo>
                      <a:pt x="7919" y="2335"/>
                    </a:lnTo>
                    <a:lnTo>
                      <a:pt x="9359" y="2335"/>
                    </a:lnTo>
                    <a:lnTo>
                      <a:pt x="9359" y="0"/>
                    </a:lnTo>
                    <a:lnTo>
                      <a:pt x="16559" y="0"/>
                    </a:lnTo>
                    <a:lnTo>
                      <a:pt x="16559" y="9340"/>
                    </a:lnTo>
                    <a:lnTo>
                      <a:pt x="19439" y="9340"/>
                    </a:lnTo>
                    <a:lnTo>
                      <a:pt x="19439" y="10508"/>
                    </a:lnTo>
                    <a:lnTo>
                      <a:pt x="20159" y="11091"/>
                    </a:lnTo>
                    <a:lnTo>
                      <a:pt x="21600" y="1167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20" name="AutoShape 114"/>
              <p:cNvSpPr>
                <a:spLocks/>
              </p:cNvSpPr>
              <p:nvPr/>
            </p:nvSpPr>
            <p:spPr bwMode="auto">
              <a:xfrm>
                <a:off x="82560" y="117546"/>
                <a:ext cx="53975" cy="4125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8639"/>
                    </a:moveTo>
                    <a:lnTo>
                      <a:pt x="20700" y="7559"/>
                    </a:lnTo>
                    <a:lnTo>
                      <a:pt x="19799" y="7559"/>
                    </a:lnTo>
                    <a:lnTo>
                      <a:pt x="18000" y="5400"/>
                    </a:lnTo>
                    <a:lnTo>
                      <a:pt x="18000" y="4320"/>
                    </a:lnTo>
                    <a:lnTo>
                      <a:pt x="17099" y="3240"/>
                    </a:lnTo>
                    <a:lnTo>
                      <a:pt x="15300" y="3240"/>
                    </a:lnTo>
                    <a:lnTo>
                      <a:pt x="13499" y="2160"/>
                    </a:lnTo>
                    <a:lnTo>
                      <a:pt x="12599" y="2160"/>
                    </a:lnTo>
                    <a:lnTo>
                      <a:pt x="11700" y="1080"/>
                    </a:lnTo>
                    <a:lnTo>
                      <a:pt x="5399" y="1080"/>
                    </a:lnTo>
                    <a:lnTo>
                      <a:pt x="4499" y="0"/>
                    </a:lnTo>
                    <a:lnTo>
                      <a:pt x="0" y="0"/>
                    </a:lnTo>
                    <a:lnTo>
                      <a:pt x="899" y="1080"/>
                    </a:lnTo>
                    <a:lnTo>
                      <a:pt x="899" y="8639"/>
                    </a:lnTo>
                    <a:lnTo>
                      <a:pt x="1799" y="10800"/>
                    </a:lnTo>
                    <a:lnTo>
                      <a:pt x="3599" y="12960"/>
                    </a:lnTo>
                    <a:lnTo>
                      <a:pt x="4499" y="11880"/>
                    </a:lnTo>
                    <a:lnTo>
                      <a:pt x="3599" y="10800"/>
                    </a:lnTo>
                    <a:lnTo>
                      <a:pt x="3599" y="9719"/>
                    </a:lnTo>
                    <a:lnTo>
                      <a:pt x="2699" y="9719"/>
                    </a:lnTo>
                    <a:lnTo>
                      <a:pt x="3599" y="8639"/>
                    </a:lnTo>
                    <a:lnTo>
                      <a:pt x="4499" y="9719"/>
                    </a:lnTo>
                    <a:lnTo>
                      <a:pt x="6299" y="10800"/>
                    </a:lnTo>
                    <a:lnTo>
                      <a:pt x="10800" y="16199"/>
                    </a:lnTo>
                    <a:lnTo>
                      <a:pt x="9899" y="16199"/>
                    </a:lnTo>
                    <a:lnTo>
                      <a:pt x="9899" y="18359"/>
                    </a:lnTo>
                    <a:lnTo>
                      <a:pt x="10800" y="19439"/>
                    </a:lnTo>
                    <a:lnTo>
                      <a:pt x="11700" y="19439"/>
                    </a:lnTo>
                    <a:lnTo>
                      <a:pt x="11700" y="18359"/>
                    </a:lnTo>
                    <a:lnTo>
                      <a:pt x="12599" y="18359"/>
                    </a:lnTo>
                    <a:lnTo>
                      <a:pt x="12599" y="19439"/>
                    </a:lnTo>
                    <a:lnTo>
                      <a:pt x="14400" y="21599"/>
                    </a:lnTo>
                    <a:lnTo>
                      <a:pt x="15300" y="20519"/>
                    </a:lnTo>
                    <a:lnTo>
                      <a:pt x="16199" y="20519"/>
                    </a:lnTo>
                    <a:lnTo>
                      <a:pt x="17099" y="19439"/>
                    </a:lnTo>
                    <a:lnTo>
                      <a:pt x="18000" y="17279"/>
                    </a:lnTo>
                    <a:lnTo>
                      <a:pt x="18000" y="15119"/>
                    </a:lnTo>
                    <a:lnTo>
                      <a:pt x="18900" y="12960"/>
                    </a:lnTo>
                    <a:lnTo>
                      <a:pt x="19799" y="11880"/>
                    </a:lnTo>
                    <a:lnTo>
                      <a:pt x="21600" y="863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21" name="AutoShape 115"/>
              <p:cNvSpPr>
                <a:spLocks/>
              </p:cNvSpPr>
              <p:nvPr/>
            </p:nvSpPr>
            <p:spPr bwMode="auto">
              <a:xfrm>
                <a:off x="122248" y="136586"/>
                <a:ext cx="92075" cy="3173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214" y="0"/>
                    </a:moveTo>
                    <a:lnTo>
                      <a:pt x="3160" y="4319"/>
                    </a:lnTo>
                    <a:lnTo>
                      <a:pt x="2107" y="7199"/>
                    </a:lnTo>
                    <a:lnTo>
                      <a:pt x="1053" y="12960"/>
                    </a:lnTo>
                    <a:lnTo>
                      <a:pt x="526" y="14400"/>
                    </a:lnTo>
                    <a:lnTo>
                      <a:pt x="0" y="14400"/>
                    </a:lnTo>
                    <a:lnTo>
                      <a:pt x="1580" y="15840"/>
                    </a:lnTo>
                    <a:lnTo>
                      <a:pt x="2107" y="15840"/>
                    </a:lnTo>
                    <a:lnTo>
                      <a:pt x="2634" y="14400"/>
                    </a:lnTo>
                    <a:lnTo>
                      <a:pt x="4214" y="14400"/>
                    </a:lnTo>
                    <a:lnTo>
                      <a:pt x="5795" y="12960"/>
                    </a:lnTo>
                    <a:lnTo>
                      <a:pt x="9482" y="12960"/>
                    </a:lnTo>
                    <a:lnTo>
                      <a:pt x="10536" y="14400"/>
                    </a:lnTo>
                    <a:lnTo>
                      <a:pt x="13170" y="21600"/>
                    </a:lnTo>
                    <a:lnTo>
                      <a:pt x="13170" y="20160"/>
                    </a:lnTo>
                    <a:lnTo>
                      <a:pt x="14751" y="20160"/>
                    </a:lnTo>
                    <a:lnTo>
                      <a:pt x="14751" y="18720"/>
                    </a:lnTo>
                    <a:lnTo>
                      <a:pt x="13697" y="15840"/>
                    </a:lnTo>
                    <a:lnTo>
                      <a:pt x="14224" y="14400"/>
                    </a:lnTo>
                    <a:lnTo>
                      <a:pt x="15278" y="12960"/>
                    </a:lnTo>
                    <a:lnTo>
                      <a:pt x="15804" y="12960"/>
                    </a:lnTo>
                    <a:lnTo>
                      <a:pt x="16331" y="11520"/>
                    </a:lnTo>
                    <a:lnTo>
                      <a:pt x="16331" y="10079"/>
                    </a:lnTo>
                    <a:lnTo>
                      <a:pt x="16858" y="10079"/>
                    </a:lnTo>
                    <a:lnTo>
                      <a:pt x="16858" y="8639"/>
                    </a:lnTo>
                    <a:lnTo>
                      <a:pt x="17912" y="8639"/>
                    </a:lnTo>
                    <a:lnTo>
                      <a:pt x="18439" y="7199"/>
                    </a:lnTo>
                    <a:lnTo>
                      <a:pt x="18965" y="8639"/>
                    </a:lnTo>
                    <a:lnTo>
                      <a:pt x="20019" y="10079"/>
                    </a:lnTo>
                    <a:lnTo>
                      <a:pt x="21073" y="12960"/>
                    </a:lnTo>
                    <a:lnTo>
                      <a:pt x="21599" y="10079"/>
                    </a:lnTo>
                    <a:lnTo>
                      <a:pt x="21073" y="8639"/>
                    </a:lnTo>
                    <a:lnTo>
                      <a:pt x="21073" y="7199"/>
                    </a:lnTo>
                    <a:lnTo>
                      <a:pt x="21599" y="5759"/>
                    </a:lnTo>
                    <a:lnTo>
                      <a:pt x="19492" y="2879"/>
                    </a:lnTo>
                    <a:lnTo>
                      <a:pt x="16331" y="2879"/>
                    </a:lnTo>
                    <a:lnTo>
                      <a:pt x="13170" y="5759"/>
                    </a:lnTo>
                    <a:lnTo>
                      <a:pt x="12117" y="5759"/>
                    </a:lnTo>
                    <a:lnTo>
                      <a:pt x="11590" y="7199"/>
                    </a:lnTo>
                    <a:lnTo>
                      <a:pt x="10536" y="7199"/>
                    </a:lnTo>
                    <a:lnTo>
                      <a:pt x="9482" y="5759"/>
                    </a:lnTo>
                    <a:lnTo>
                      <a:pt x="8429" y="5759"/>
                    </a:lnTo>
                    <a:lnTo>
                      <a:pt x="8429" y="4319"/>
                    </a:lnTo>
                    <a:lnTo>
                      <a:pt x="7902" y="4319"/>
                    </a:lnTo>
                    <a:lnTo>
                      <a:pt x="6848" y="2879"/>
                    </a:lnTo>
                    <a:lnTo>
                      <a:pt x="4214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22" name="AutoShape 116"/>
              <p:cNvSpPr>
                <a:spLocks/>
              </p:cNvSpPr>
              <p:nvPr/>
            </p:nvSpPr>
            <p:spPr bwMode="auto">
              <a:xfrm>
                <a:off x="33348" y="41388"/>
                <a:ext cx="92075" cy="4918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3756"/>
                    </a:moveTo>
                    <a:lnTo>
                      <a:pt x="18965" y="3756"/>
                    </a:lnTo>
                    <a:lnTo>
                      <a:pt x="18439" y="4695"/>
                    </a:lnTo>
                    <a:lnTo>
                      <a:pt x="17912" y="3756"/>
                    </a:lnTo>
                    <a:lnTo>
                      <a:pt x="17385" y="3756"/>
                    </a:lnTo>
                    <a:lnTo>
                      <a:pt x="16331" y="5634"/>
                    </a:lnTo>
                    <a:lnTo>
                      <a:pt x="15804" y="8452"/>
                    </a:lnTo>
                    <a:lnTo>
                      <a:pt x="15278" y="10330"/>
                    </a:lnTo>
                    <a:lnTo>
                      <a:pt x="14751" y="11269"/>
                    </a:lnTo>
                    <a:lnTo>
                      <a:pt x="14224" y="13147"/>
                    </a:lnTo>
                    <a:lnTo>
                      <a:pt x="13170" y="14086"/>
                    </a:lnTo>
                    <a:lnTo>
                      <a:pt x="12643" y="14086"/>
                    </a:lnTo>
                    <a:lnTo>
                      <a:pt x="11590" y="15965"/>
                    </a:lnTo>
                    <a:lnTo>
                      <a:pt x="11590" y="18782"/>
                    </a:lnTo>
                    <a:lnTo>
                      <a:pt x="10536" y="20660"/>
                    </a:lnTo>
                    <a:lnTo>
                      <a:pt x="10009" y="20660"/>
                    </a:lnTo>
                    <a:lnTo>
                      <a:pt x="10009" y="21599"/>
                    </a:lnTo>
                    <a:lnTo>
                      <a:pt x="9482" y="21599"/>
                    </a:lnTo>
                    <a:lnTo>
                      <a:pt x="8956" y="20660"/>
                    </a:lnTo>
                    <a:lnTo>
                      <a:pt x="8956" y="19721"/>
                    </a:lnTo>
                    <a:lnTo>
                      <a:pt x="8429" y="19721"/>
                    </a:lnTo>
                    <a:lnTo>
                      <a:pt x="8429" y="20660"/>
                    </a:lnTo>
                    <a:lnTo>
                      <a:pt x="7902" y="20660"/>
                    </a:lnTo>
                    <a:lnTo>
                      <a:pt x="7902" y="15965"/>
                    </a:lnTo>
                    <a:lnTo>
                      <a:pt x="7375" y="15026"/>
                    </a:lnTo>
                    <a:lnTo>
                      <a:pt x="6848" y="15026"/>
                    </a:lnTo>
                    <a:lnTo>
                      <a:pt x="6321" y="14086"/>
                    </a:lnTo>
                    <a:lnTo>
                      <a:pt x="4741" y="14086"/>
                    </a:lnTo>
                    <a:lnTo>
                      <a:pt x="4214" y="15026"/>
                    </a:lnTo>
                    <a:lnTo>
                      <a:pt x="3687" y="15026"/>
                    </a:lnTo>
                    <a:lnTo>
                      <a:pt x="3160" y="14086"/>
                    </a:lnTo>
                    <a:lnTo>
                      <a:pt x="3160" y="13147"/>
                    </a:lnTo>
                    <a:lnTo>
                      <a:pt x="2634" y="13147"/>
                    </a:lnTo>
                    <a:lnTo>
                      <a:pt x="1580" y="11269"/>
                    </a:lnTo>
                    <a:lnTo>
                      <a:pt x="0" y="11269"/>
                    </a:lnTo>
                    <a:lnTo>
                      <a:pt x="526" y="10330"/>
                    </a:lnTo>
                    <a:lnTo>
                      <a:pt x="1580" y="10330"/>
                    </a:lnTo>
                    <a:lnTo>
                      <a:pt x="2634" y="8452"/>
                    </a:lnTo>
                    <a:lnTo>
                      <a:pt x="3160" y="6573"/>
                    </a:lnTo>
                    <a:lnTo>
                      <a:pt x="3687" y="5634"/>
                    </a:lnTo>
                    <a:lnTo>
                      <a:pt x="4214" y="5634"/>
                    </a:lnTo>
                    <a:lnTo>
                      <a:pt x="6321" y="3756"/>
                    </a:lnTo>
                    <a:lnTo>
                      <a:pt x="6848" y="1878"/>
                    </a:lnTo>
                    <a:lnTo>
                      <a:pt x="7902" y="0"/>
                    </a:lnTo>
                    <a:lnTo>
                      <a:pt x="16858" y="0"/>
                    </a:lnTo>
                    <a:lnTo>
                      <a:pt x="18439" y="939"/>
                    </a:lnTo>
                    <a:lnTo>
                      <a:pt x="21073" y="939"/>
                    </a:lnTo>
                    <a:lnTo>
                      <a:pt x="21073" y="1878"/>
                    </a:lnTo>
                    <a:lnTo>
                      <a:pt x="21599" y="1878"/>
                    </a:lnTo>
                    <a:lnTo>
                      <a:pt x="21599" y="375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23" name="AutoShape 117"/>
              <p:cNvSpPr>
                <a:spLocks/>
              </p:cNvSpPr>
              <p:nvPr/>
            </p:nvSpPr>
            <p:spPr bwMode="auto">
              <a:xfrm>
                <a:off x="20648" y="66774"/>
                <a:ext cx="49212" cy="2538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18000"/>
                    </a:moveTo>
                    <a:lnTo>
                      <a:pt x="20618" y="19800"/>
                    </a:lnTo>
                    <a:lnTo>
                      <a:pt x="19636" y="19800"/>
                    </a:lnTo>
                    <a:lnTo>
                      <a:pt x="19636" y="21600"/>
                    </a:lnTo>
                    <a:lnTo>
                      <a:pt x="15709" y="19800"/>
                    </a:lnTo>
                    <a:lnTo>
                      <a:pt x="12763" y="19800"/>
                    </a:lnTo>
                    <a:lnTo>
                      <a:pt x="9818" y="18000"/>
                    </a:lnTo>
                    <a:lnTo>
                      <a:pt x="7854" y="16200"/>
                    </a:lnTo>
                    <a:lnTo>
                      <a:pt x="5890" y="16200"/>
                    </a:lnTo>
                    <a:lnTo>
                      <a:pt x="5890" y="14400"/>
                    </a:lnTo>
                    <a:lnTo>
                      <a:pt x="2945" y="12600"/>
                    </a:lnTo>
                    <a:lnTo>
                      <a:pt x="981" y="10800"/>
                    </a:lnTo>
                    <a:lnTo>
                      <a:pt x="0" y="8999"/>
                    </a:lnTo>
                    <a:lnTo>
                      <a:pt x="3927" y="3599"/>
                    </a:lnTo>
                    <a:lnTo>
                      <a:pt x="5890" y="0"/>
                    </a:lnTo>
                    <a:lnTo>
                      <a:pt x="7854" y="0"/>
                    </a:lnTo>
                    <a:lnTo>
                      <a:pt x="11781" y="3599"/>
                    </a:lnTo>
                    <a:lnTo>
                      <a:pt x="11781" y="5399"/>
                    </a:lnTo>
                    <a:lnTo>
                      <a:pt x="12763" y="5399"/>
                    </a:lnTo>
                    <a:lnTo>
                      <a:pt x="12763" y="7199"/>
                    </a:lnTo>
                    <a:lnTo>
                      <a:pt x="14727" y="7199"/>
                    </a:lnTo>
                    <a:lnTo>
                      <a:pt x="15709" y="5399"/>
                    </a:lnTo>
                    <a:lnTo>
                      <a:pt x="18654" y="5399"/>
                    </a:lnTo>
                    <a:lnTo>
                      <a:pt x="21599" y="10800"/>
                    </a:lnTo>
                    <a:lnTo>
                      <a:pt x="21599" y="180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24" name="AutoShape 118"/>
              <p:cNvSpPr>
                <a:spLocks/>
              </p:cNvSpPr>
              <p:nvPr/>
            </p:nvSpPr>
            <p:spPr bwMode="auto">
              <a:xfrm>
                <a:off x="496899" y="726812"/>
                <a:ext cx="87312" cy="9519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12000"/>
                    </a:moveTo>
                    <a:lnTo>
                      <a:pt x="16615" y="7679"/>
                    </a:lnTo>
                    <a:lnTo>
                      <a:pt x="16615" y="7199"/>
                    </a:lnTo>
                    <a:lnTo>
                      <a:pt x="15507" y="6239"/>
                    </a:lnTo>
                    <a:lnTo>
                      <a:pt x="12184" y="4799"/>
                    </a:lnTo>
                    <a:lnTo>
                      <a:pt x="9969" y="4319"/>
                    </a:lnTo>
                    <a:lnTo>
                      <a:pt x="7753" y="2399"/>
                    </a:lnTo>
                    <a:lnTo>
                      <a:pt x="7753" y="1919"/>
                    </a:lnTo>
                    <a:lnTo>
                      <a:pt x="6646" y="959"/>
                    </a:lnTo>
                    <a:lnTo>
                      <a:pt x="4430" y="0"/>
                    </a:lnTo>
                    <a:lnTo>
                      <a:pt x="3323" y="480"/>
                    </a:lnTo>
                    <a:lnTo>
                      <a:pt x="2215" y="2399"/>
                    </a:lnTo>
                    <a:lnTo>
                      <a:pt x="1107" y="3359"/>
                    </a:lnTo>
                    <a:lnTo>
                      <a:pt x="553" y="4799"/>
                    </a:lnTo>
                    <a:lnTo>
                      <a:pt x="0" y="7679"/>
                    </a:lnTo>
                    <a:lnTo>
                      <a:pt x="0" y="10559"/>
                    </a:lnTo>
                    <a:lnTo>
                      <a:pt x="553" y="12479"/>
                    </a:lnTo>
                    <a:lnTo>
                      <a:pt x="553" y="17279"/>
                    </a:lnTo>
                    <a:lnTo>
                      <a:pt x="1107" y="18720"/>
                    </a:lnTo>
                    <a:lnTo>
                      <a:pt x="1661" y="19680"/>
                    </a:lnTo>
                    <a:lnTo>
                      <a:pt x="3876" y="21599"/>
                    </a:lnTo>
                    <a:lnTo>
                      <a:pt x="11630" y="21599"/>
                    </a:lnTo>
                    <a:lnTo>
                      <a:pt x="13846" y="21119"/>
                    </a:lnTo>
                    <a:lnTo>
                      <a:pt x="14399" y="20640"/>
                    </a:lnTo>
                    <a:lnTo>
                      <a:pt x="18830" y="18720"/>
                    </a:lnTo>
                    <a:lnTo>
                      <a:pt x="19384" y="18239"/>
                    </a:lnTo>
                    <a:lnTo>
                      <a:pt x="21599" y="120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</p:grpSp>
        <p:grpSp>
          <p:nvGrpSpPr>
            <p:cNvPr id="7" name="Group 119"/>
            <p:cNvGrpSpPr>
              <a:grpSpLocks/>
            </p:cNvGrpSpPr>
            <p:nvPr/>
          </p:nvGrpSpPr>
          <p:grpSpPr bwMode="auto">
            <a:xfrm>
              <a:off x="5084759" y="3075649"/>
              <a:ext cx="2128211" cy="2457606"/>
              <a:chOff x="-316" y="-517"/>
              <a:chExt cx="990601" cy="1056695"/>
            </a:xfrm>
            <a:grpFill/>
          </p:grpSpPr>
          <p:sp>
            <p:nvSpPr>
              <p:cNvPr id="56" name="AutoShape 120"/>
              <p:cNvSpPr>
                <a:spLocks/>
              </p:cNvSpPr>
              <p:nvPr/>
            </p:nvSpPr>
            <p:spPr bwMode="auto">
              <a:xfrm>
                <a:off x="745810" y="72468"/>
                <a:ext cx="25400" cy="6505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0"/>
                    </a:moveTo>
                    <a:lnTo>
                      <a:pt x="15709" y="696"/>
                    </a:lnTo>
                    <a:lnTo>
                      <a:pt x="15709" y="2787"/>
                    </a:lnTo>
                    <a:lnTo>
                      <a:pt x="13745" y="4180"/>
                    </a:lnTo>
                    <a:lnTo>
                      <a:pt x="13745" y="5574"/>
                    </a:lnTo>
                    <a:lnTo>
                      <a:pt x="11781" y="6967"/>
                    </a:lnTo>
                    <a:lnTo>
                      <a:pt x="7854" y="8361"/>
                    </a:lnTo>
                    <a:lnTo>
                      <a:pt x="0" y="10451"/>
                    </a:lnTo>
                    <a:lnTo>
                      <a:pt x="1963" y="11148"/>
                    </a:lnTo>
                    <a:lnTo>
                      <a:pt x="3927" y="13238"/>
                    </a:lnTo>
                    <a:lnTo>
                      <a:pt x="7854" y="16722"/>
                    </a:lnTo>
                    <a:lnTo>
                      <a:pt x="17672" y="21599"/>
                    </a:lnTo>
                    <a:lnTo>
                      <a:pt x="17672" y="15329"/>
                    </a:lnTo>
                    <a:lnTo>
                      <a:pt x="19636" y="13935"/>
                    </a:lnTo>
                    <a:lnTo>
                      <a:pt x="19636" y="11845"/>
                    </a:lnTo>
                    <a:lnTo>
                      <a:pt x="21600" y="11148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57" name="AutoShape 121"/>
              <p:cNvSpPr>
                <a:spLocks/>
              </p:cNvSpPr>
              <p:nvPr/>
            </p:nvSpPr>
            <p:spPr bwMode="auto">
              <a:xfrm>
                <a:off x="239396" y="369167"/>
                <a:ext cx="30163" cy="11106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407"/>
                    </a:moveTo>
                    <a:lnTo>
                      <a:pt x="3323" y="0"/>
                    </a:lnTo>
                    <a:lnTo>
                      <a:pt x="6646" y="407"/>
                    </a:lnTo>
                    <a:lnTo>
                      <a:pt x="11630" y="407"/>
                    </a:lnTo>
                    <a:lnTo>
                      <a:pt x="11630" y="2037"/>
                    </a:lnTo>
                    <a:lnTo>
                      <a:pt x="14953" y="2852"/>
                    </a:lnTo>
                    <a:lnTo>
                      <a:pt x="16615" y="3667"/>
                    </a:lnTo>
                    <a:lnTo>
                      <a:pt x="19938" y="4483"/>
                    </a:lnTo>
                    <a:lnTo>
                      <a:pt x="19938" y="5705"/>
                    </a:lnTo>
                    <a:lnTo>
                      <a:pt x="21599" y="7335"/>
                    </a:lnTo>
                    <a:lnTo>
                      <a:pt x="21599" y="19562"/>
                    </a:lnTo>
                    <a:lnTo>
                      <a:pt x="19938" y="19562"/>
                    </a:lnTo>
                    <a:lnTo>
                      <a:pt x="16615" y="19969"/>
                    </a:lnTo>
                    <a:lnTo>
                      <a:pt x="14953" y="20377"/>
                    </a:lnTo>
                    <a:lnTo>
                      <a:pt x="11630" y="20784"/>
                    </a:lnTo>
                    <a:lnTo>
                      <a:pt x="6646" y="21599"/>
                    </a:lnTo>
                    <a:lnTo>
                      <a:pt x="6646" y="20784"/>
                    </a:lnTo>
                    <a:lnTo>
                      <a:pt x="9969" y="15079"/>
                    </a:lnTo>
                    <a:lnTo>
                      <a:pt x="9969" y="12226"/>
                    </a:lnTo>
                    <a:lnTo>
                      <a:pt x="8307" y="9781"/>
                    </a:lnTo>
                    <a:lnTo>
                      <a:pt x="8307" y="6928"/>
                    </a:lnTo>
                    <a:lnTo>
                      <a:pt x="6646" y="5705"/>
                    </a:lnTo>
                    <a:lnTo>
                      <a:pt x="4984" y="2037"/>
                    </a:lnTo>
                    <a:lnTo>
                      <a:pt x="3323" y="2037"/>
                    </a:lnTo>
                    <a:lnTo>
                      <a:pt x="3323" y="1630"/>
                    </a:lnTo>
                    <a:lnTo>
                      <a:pt x="1661" y="815"/>
                    </a:lnTo>
                    <a:lnTo>
                      <a:pt x="1661" y="407"/>
                    </a:lnTo>
                    <a:lnTo>
                      <a:pt x="0" y="40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58" name="AutoShape 122"/>
              <p:cNvSpPr>
                <a:spLocks/>
              </p:cNvSpPr>
              <p:nvPr/>
            </p:nvSpPr>
            <p:spPr bwMode="auto">
              <a:xfrm>
                <a:off x="253684" y="362821"/>
                <a:ext cx="47625" cy="10630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7199" y="21599"/>
                    </a:moveTo>
                    <a:lnTo>
                      <a:pt x="7199" y="7623"/>
                    </a:lnTo>
                    <a:lnTo>
                      <a:pt x="6171" y="6352"/>
                    </a:lnTo>
                    <a:lnTo>
                      <a:pt x="4114" y="5082"/>
                    </a:lnTo>
                    <a:lnTo>
                      <a:pt x="3085" y="4235"/>
                    </a:lnTo>
                    <a:lnTo>
                      <a:pt x="1028" y="3811"/>
                    </a:lnTo>
                    <a:lnTo>
                      <a:pt x="0" y="2541"/>
                    </a:lnTo>
                    <a:lnTo>
                      <a:pt x="1028" y="1694"/>
                    </a:lnTo>
                    <a:lnTo>
                      <a:pt x="7199" y="1694"/>
                    </a:lnTo>
                    <a:lnTo>
                      <a:pt x="8228" y="0"/>
                    </a:lnTo>
                    <a:lnTo>
                      <a:pt x="14400" y="2117"/>
                    </a:lnTo>
                    <a:lnTo>
                      <a:pt x="20571" y="4658"/>
                    </a:lnTo>
                    <a:lnTo>
                      <a:pt x="21600" y="7200"/>
                    </a:lnTo>
                    <a:lnTo>
                      <a:pt x="19542" y="10164"/>
                    </a:lnTo>
                    <a:lnTo>
                      <a:pt x="19542" y="11011"/>
                    </a:lnTo>
                    <a:lnTo>
                      <a:pt x="18514" y="13552"/>
                    </a:lnTo>
                    <a:lnTo>
                      <a:pt x="18514" y="17364"/>
                    </a:lnTo>
                    <a:lnTo>
                      <a:pt x="17485" y="20752"/>
                    </a:lnTo>
                    <a:lnTo>
                      <a:pt x="7199" y="215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59" name="AutoShape 123"/>
              <p:cNvSpPr>
                <a:spLocks/>
              </p:cNvSpPr>
              <p:nvPr/>
            </p:nvSpPr>
            <p:spPr bwMode="auto">
              <a:xfrm>
                <a:off x="291784" y="359647"/>
                <a:ext cx="165100" cy="12693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0"/>
                    </a:moveTo>
                    <a:lnTo>
                      <a:pt x="20120" y="0"/>
                    </a:lnTo>
                    <a:lnTo>
                      <a:pt x="19528" y="359"/>
                    </a:lnTo>
                    <a:lnTo>
                      <a:pt x="18641" y="719"/>
                    </a:lnTo>
                    <a:lnTo>
                      <a:pt x="18345" y="1079"/>
                    </a:lnTo>
                    <a:lnTo>
                      <a:pt x="17753" y="1079"/>
                    </a:lnTo>
                    <a:lnTo>
                      <a:pt x="17753" y="1439"/>
                    </a:lnTo>
                    <a:lnTo>
                      <a:pt x="15978" y="359"/>
                    </a:lnTo>
                    <a:lnTo>
                      <a:pt x="14202" y="719"/>
                    </a:lnTo>
                    <a:lnTo>
                      <a:pt x="13019" y="1079"/>
                    </a:lnTo>
                    <a:lnTo>
                      <a:pt x="12427" y="1439"/>
                    </a:lnTo>
                    <a:lnTo>
                      <a:pt x="11835" y="1079"/>
                    </a:lnTo>
                    <a:lnTo>
                      <a:pt x="11243" y="1079"/>
                    </a:lnTo>
                    <a:lnTo>
                      <a:pt x="10356" y="1439"/>
                    </a:lnTo>
                    <a:lnTo>
                      <a:pt x="10060" y="2159"/>
                    </a:lnTo>
                    <a:lnTo>
                      <a:pt x="9468" y="2519"/>
                    </a:lnTo>
                    <a:lnTo>
                      <a:pt x="9172" y="2879"/>
                    </a:lnTo>
                    <a:lnTo>
                      <a:pt x="8580" y="2519"/>
                    </a:lnTo>
                    <a:lnTo>
                      <a:pt x="7989" y="1799"/>
                    </a:lnTo>
                    <a:lnTo>
                      <a:pt x="7397" y="1799"/>
                    </a:lnTo>
                    <a:lnTo>
                      <a:pt x="6805" y="1439"/>
                    </a:lnTo>
                    <a:lnTo>
                      <a:pt x="6213" y="1439"/>
                    </a:lnTo>
                    <a:lnTo>
                      <a:pt x="5917" y="1079"/>
                    </a:lnTo>
                    <a:lnTo>
                      <a:pt x="3254" y="1079"/>
                    </a:lnTo>
                    <a:lnTo>
                      <a:pt x="2367" y="1439"/>
                    </a:lnTo>
                    <a:lnTo>
                      <a:pt x="1479" y="2159"/>
                    </a:lnTo>
                    <a:lnTo>
                      <a:pt x="887" y="2519"/>
                    </a:lnTo>
                    <a:lnTo>
                      <a:pt x="591" y="3239"/>
                    </a:lnTo>
                    <a:lnTo>
                      <a:pt x="295" y="3599"/>
                    </a:lnTo>
                    <a:lnTo>
                      <a:pt x="591" y="3959"/>
                    </a:lnTo>
                    <a:lnTo>
                      <a:pt x="591" y="4320"/>
                    </a:lnTo>
                    <a:lnTo>
                      <a:pt x="887" y="5039"/>
                    </a:lnTo>
                    <a:lnTo>
                      <a:pt x="887" y="8640"/>
                    </a:lnTo>
                    <a:lnTo>
                      <a:pt x="591" y="8999"/>
                    </a:lnTo>
                    <a:lnTo>
                      <a:pt x="295" y="9719"/>
                    </a:lnTo>
                    <a:lnTo>
                      <a:pt x="295" y="10439"/>
                    </a:lnTo>
                    <a:lnTo>
                      <a:pt x="0" y="11520"/>
                    </a:lnTo>
                    <a:lnTo>
                      <a:pt x="0" y="17999"/>
                    </a:lnTo>
                    <a:lnTo>
                      <a:pt x="2071" y="17639"/>
                    </a:lnTo>
                    <a:lnTo>
                      <a:pt x="2367" y="17999"/>
                    </a:lnTo>
                    <a:lnTo>
                      <a:pt x="3550" y="19079"/>
                    </a:lnTo>
                    <a:lnTo>
                      <a:pt x="5030" y="20159"/>
                    </a:lnTo>
                    <a:lnTo>
                      <a:pt x="7101" y="21240"/>
                    </a:lnTo>
                    <a:lnTo>
                      <a:pt x="7693" y="21240"/>
                    </a:lnTo>
                    <a:lnTo>
                      <a:pt x="9172" y="21600"/>
                    </a:lnTo>
                    <a:lnTo>
                      <a:pt x="12723" y="21600"/>
                    </a:lnTo>
                    <a:lnTo>
                      <a:pt x="13906" y="18359"/>
                    </a:lnTo>
                    <a:lnTo>
                      <a:pt x="13906" y="15839"/>
                    </a:lnTo>
                    <a:lnTo>
                      <a:pt x="14498" y="15119"/>
                    </a:lnTo>
                    <a:lnTo>
                      <a:pt x="14794" y="14399"/>
                    </a:lnTo>
                    <a:lnTo>
                      <a:pt x="15978" y="12959"/>
                    </a:lnTo>
                    <a:lnTo>
                      <a:pt x="16569" y="12599"/>
                    </a:lnTo>
                    <a:lnTo>
                      <a:pt x="17457" y="12240"/>
                    </a:lnTo>
                    <a:lnTo>
                      <a:pt x="18049" y="12959"/>
                    </a:lnTo>
                    <a:lnTo>
                      <a:pt x="18641" y="12959"/>
                    </a:lnTo>
                    <a:lnTo>
                      <a:pt x="18936" y="12599"/>
                    </a:lnTo>
                    <a:lnTo>
                      <a:pt x="19528" y="12240"/>
                    </a:lnTo>
                    <a:lnTo>
                      <a:pt x="20120" y="11520"/>
                    </a:lnTo>
                    <a:lnTo>
                      <a:pt x="20416" y="10079"/>
                    </a:lnTo>
                    <a:lnTo>
                      <a:pt x="21008" y="8280"/>
                    </a:lnTo>
                    <a:lnTo>
                      <a:pt x="21304" y="7559"/>
                    </a:lnTo>
                    <a:lnTo>
                      <a:pt x="21304" y="6479"/>
                    </a:lnTo>
                    <a:lnTo>
                      <a:pt x="21599" y="5399"/>
                    </a:lnTo>
                    <a:lnTo>
                      <a:pt x="21599" y="4320"/>
                    </a:lnTo>
                    <a:lnTo>
                      <a:pt x="21304" y="3239"/>
                    </a:lnTo>
                    <a:lnTo>
                      <a:pt x="21304" y="1439"/>
                    </a:lnTo>
                    <a:lnTo>
                      <a:pt x="21599" y="719"/>
                    </a:lnTo>
                    <a:lnTo>
                      <a:pt x="2159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0" name="AutoShape 124"/>
              <p:cNvSpPr>
                <a:spLocks/>
              </p:cNvSpPr>
              <p:nvPr/>
            </p:nvSpPr>
            <p:spPr bwMode="auto">
              <a:xfrm>
                <a:off x="388621" y="359647"/>
                <a:ext cx="100013" cy="15549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4727" y="0"/>
                    </a:moveTo>
                    <a:lnTo>
                      <a:pt x="14727" y="583"/>
                    </a:lnTo>
                    <a:lnTo>
                      <a:pt x="14236" y="1167"/>
                    </a:lnTo>
                    <a:lnTo>
                      <a:pt x="14236" y="2918"/>
                    </a:lnTo>
                    <a:lnTo>
                      <a:pt x="14727" y="3502"/>
                    </a:lnTo>
                    <a:lnTo>
                      <a:pt x="14727" y="4378"/>
                    </a:lnTo>
                    <a:lnTo>
                      <a:pt x="14236" y="5254"/>
                    </a:lnTo>
                    <a:lnTo>
                      <a:pt x="14236" y="6129"/>
                    </a:lnTo>
                    <a:lnTo>
                      <a:pt x="13745" y="6713"/>
                    </a:lnTo>
                    <a:lnTo>
                      <a:pt x="13745" y="7005"/>
                    </a:lnTo>
                    <a:lnTo>
                      <a:pt x="12763" y="8172"/>
                    </a:lnTo>
                    <a:lnTo>
                      <a:pt x="12272" y="9340"/>
                    </a:lnTo>
                    <a:lnTo>
                      <a:pt x="11290" y="9924"/>
                    </a:lnTo>
                    <a:lnTo>
                      <a:pt x="10309" y="10216"/>
                    </a:lnTo>
                    <a:lnTo>
                      <a:pt x="9818" y="10508"/>
                    </a:lnTo>
                    <a:lnTo>
                      <a:pt x="8836" y="10508"/>
                    </a:lnTo>
                    <a:lnTo>
                      <a:pt x="7854" y="10216"/>
                    </a:lnTo>
                    <a:lnTo>
                      <a:pt x="6381" y="10216"/>
                    </a:lnTo>
                    <a:lnTo>
                      <a:pt x="5400" y="10508"/>
                    </a:lnTo>
                    <a:lnTo>
                      <a:pt x="3436" y="11675"/>
                    </a:lnTo>
                    <a:lnTo>
                      <a:pt x="2945" y="12259"/>
                    </a:lnTo>
                    <a:lnTo>
                      <a:pt x="1963" y="12843"/>
                    </a:lnTo>
                    <a:lnTo>
                      <a:pt x="1963" y="14886"/>
                    </a:lnTo>
                    <a:lnTo>
                      <a:pt x="0" y="17513"/>
                    </a:lnTo>
                    <a:lnTo>
                      <a:pt x="0" y="18097"/>
                    </a:lnTo>
                    <a:lnTo>
                      <a:pt x="490" y="18389"/>
                    </a:lnTo>
                    <a:lnTo>
                      <a:pt x="490" y="18972"/>
                    </a:lnTo>
                    <a:lnTo>
                      <a:pt x="2454" y="19556"/>
                    </a:lnTo>
                    <a:lnTo>
                      <a:pt x="2945" y="19556"/>
                    </a:lnTo>
                    <a:lnTo>
                      <a:pt x="4418" y="20432"/>
                    </a:lnTo>
                    <a:lnTo>
                      <a:pt x="4418" y="21599"/>
                    </a:lnTo>
                    <a:lnTo>
                      <a:pt x="8836" y="21599"/>
                    </a:lnTo>
                    <a:lnTo>
                      <a:pt x="12763" y="21308"/>
                    </a:lnTo>
                    <a:lnTo>
                      <a:pt x="21599" y="21308"/>
                    </a:lnTo>
                    <a:lnTo>
                      <a:pt x="21109" y="21016"/>
                    </a:lnTo>
                    <a:lnTo>
                      <a:pt x="21109" y="20724"/>
                    </a:lnTo>
                    <a:lnTo>
                      <a:pt x="21599" y="20140"/>
                    </a:lnTo>
                    <a:lnTo>
                      <a:pt x="21599" y="19556"/>
                    </a:lnTo>
                    <a:lnTo>
                      <a:pt x="20618" y="19264"/>
                    </a:lnTo>
                    <a:lnTo>
                      <a:pt x="18163" y="17805"/>
                    </a:lnTo>
                    <a:lnTo>
                      <a:pt x="17181" y="16929"/>
                    </a:lnTo>
                    <a:lnTo>
                      <a:pt x="16690" y="16054"/>
                    </a:lnTo>
                    <a:lnTo>
                      <a:pt x="16200" y="14886"/>
                    </a:lnTo>
                    <a:lnTo>
                      <a:pt x="15218" y="14594"/>
                    </a:lnTo>
                    <a:lnTo>
                      <a:pt x="16200" y="14594"/>
                    </a:lnTo>
                    <a:lnTo>
                      <a:pt x="16200" y="14302"/>
                    </a:lnTo>
                    <a:lnTo>
                      <a:pt x="17181" y="13718"/>
                    </a:lnTo>
                    <a:lnTo>
                      <a:pt x="17181" y="13135"/>
                    </a:lnTo>
                    <a:lnTo>
                      <a:pt x="17672" y="12551"/>
                    </a:lnTo>
                    <a:lnTo>
                      <a:pt x="17672" y="11967"/>
                    </a:lnTo>
                    <a:lnTo>
                      <a:pt x="17181" y="11383"/>
                    </a:lnTo>
                    <a:lnTo>
                      <a:pt x="15709" y="10508"/>
                    </a:lnTo>
                    <a:lnTo>
                      <a:pt x="15218" y="9924"/>
                    </a:lnTo>
                    <a:lnTo>
                      <a:pt x="15218" y="8464"/>
                    </a:lnTo>
                    <a:lnTo>
                      <a:pt x="17672" y="8464"/>
                    </a:lnTo>
                    <a:lnTo>
                      <a:pt x="18163" y="8172"/>
                    </a:lnTo>
                    <a:lnTo>
                      <a:pt x="19145" y="7881"/>
                    </a:lnTo>
                    <a:lnTo>
                      <a:pt x="19145" y="6713"/>
                    </a:lnTo>
                    <a:lnTo>
                      <a:pt x="18654" y="6129"/>
                    </a:lnTo>
                    <a:lnTo>
                      <a:pt x="18163" y="5837"/>
                    </a:lnTo>
                    <a:lnTo>
                      <a:pt x="17672" y="4962"/>
                    </a:lnTo>
                    <a:lnTo>
                      <a:pt x="17672" y="1167"/>
                    </a:lnTo>
                    <a:lnTo>
                      <a:pt x="17181" y="583"/>
                    </a:lnTo>
                    <a:lnTo>
                      <a:pt x="16200" y="291"/>
                    </a:lnTo>
                    <a:lnTo>
                      <a:pt x="14727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1" name="AutoShape 125"/>
              <p:cNvSpPr>
                <a:spLocks/>
              </p:cNvSpPr>
              <p:nvPr/>
            </p:nvSpPr>
            <p:spPr bwMode="auto">
              <a:xfrm>
                <a:off x="458471" y="412007"/>
                <a:ext cx="168275" cy="8885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470" y="0"/>
                    </a:moveTo>
                    <a:lnTo>
                      <a:pt x="14886" y="0"/>
                    </a:lnTo>
                    <a:lnTo>
                      <a:pt x="13135" y="1542"/>
                    </a:lnTo>
                    <a:lnTo>
                      <a:pt x="12259" y="3085"/>
                    </a:lnTo>
                    <a:lnTo>
                      <a:pt x="12259" y="4628"/>
                    </a:lnTo>
                    <a:lnTo>
                      <a:pt x="11967" y="5657"/>
                    </a:lnTo>
                    <a:lnTo>
                      <a:pt x="11091" y="7200"/>
                    </a:lnTo>
                    <a:lnTo>
                      <a:pt x="9924" y="7200"/>
                    </a:lnTo>
                    <a:lnTo>
                      <a:pt x="9340" y="6685"/>
                    </a:lnTo>
                    <a:lnTo>
                      <a:pt x="8756" y="6685"/>
                    </a:lnTo>
                    <a:lnTo>
                      <a:pt x="8756" y="6171"/>
                    </a:lnTo>
                    <a:lnTo>
                      <a:pt x="8172" y="7200"/>
                    </a:lnTo>
                    <a:lnTo>
                      <a:pt x="7589" y="7200"/>
                    </a:lnTo>
                    <a:lnTo>
                      <a:pt x="7005" y="7714"/>
                    </a:lnTo>
                    <a:lnTo>
                      <a:pt x="4378" y="9257"/>
                    </a:lnTo>
                    <a:lnTo>
                      <a:pt x="1459" y="9257"/>
                    </a:lnTo>
                    <a:lnTo>
                      <a:pt x="1459" y="9771"/>
                    </a:lnTo>
                    <a:lnTo>
                      <a:pt x="583" y="12857"/>
                    </a:lnTo>
                    <a:lnTo>
                      <a:pt x="0" y="12857"/>
                    </a:lnTo>
                    <a:lnTo>
                      <a:pt x="291" y="13371"/>
                    </a:lnTo>
                    <a:lnTo>
                      <a:pt x="583" y="13371"/>
                    </a:lnTo>
                    <a:lnTo>
                      <a:pt x="583" y="14399"/>
                    </a:lnTo>
                    <a:lnTo>
                      <a:pt x="875" y="15428"/>
                    </a:lnTo>
                    <a:lnTo>
                      <a:pt x="875" y="16971"/>
                    </a:lnTo>
                    <a:lnTo>
                      <a:pt x="2043" y="19028"/>
                    </a:lnTo>
                    <a:lnTo>
                      <a:pt x="3794" y="21599"/>
                    </a:lnTo>
                    <a:lnTo>
                      <a:pt x="5545" y="19028"/>
                    </a:lnTo>
                    <a:lnTo>
                      <a:pt x="5837" y="18514"/>
                    </a:lnTo>
                    <a:lnTo>
                      <a:pt x="6129" y="17485"/>
                    </a:lnTo>
                    <a:lnTo>
                      <a:pt x="7005" y="15942"/>
                    </a:lnTo>
                    <a:lnTo>
                      <a:pt x="7589" y="15428"/>
                    </a:lnTo>
                    <a:lnTo>
                      <a:pt x="8464" y="15428"/>
                    </a:lnTo>
                    <a:lnTo>
                      <a:pt x="8756" y="15942"/>
                    </a:lnTo>
                    <a:lnTo>
                      <a:pt x="8756" y="16971"/>
                    </a:lnTo>
                    <a:lnTo>
                      <a:pt x="9340" y="17999"/>
                    </a:lnTo>
                    <a:lnTo>
                      <a:pt x="9924" y="17999"/>
                    </a:lnTo>
                    <a:lnTo>
                      <a:pt x="10800" y="17485"/>
                    </a:lnTo>
                    <a:lnTo>
                      <a:pt x="13135" y="17485"/>
                    </a:lnTo>
                    <a:lnTo>
                      <a:pt x="17221" y="15942"/>
                    </a:lnTo>
                    <a:lnTo>
                      <a:pt x="21600" y="14399"/>
                    </a:lnTo>
                    <a:lnTo>
                      <a:pt x="21308" y="13371"/>
                    </a:lnTo>
                    <a:lnTo>
                      <a:pt x="20432" y="11314"/>
                    </a:lnTo>
                    <a:lnTo>
                      <a:pt x="19264" y="8742"/>
                    </a:lnTo>
                    <a:lnTo>
                      <a:pt x="18097" y="5657"/>
                    </a:lnTo>
                    <a:lnTo>
                      <a:pt x="17805" y="5657"/>
                    </a:lnTo>
                    <a:lnTo>
                      <a:pt x="17513" y="5142"/>
                    </a:lnTo>
                    <a:lnTo>
                      <a:pt x="17221" y="4114"/>
                    </a:lnTo>
                    <a:lnTo>
                      <a:pt x="16637" y="3085"/>
                    </a:lnTo>
                    <a:lnTo>
                      <a:pt x="16345" y="2057"/>
                    </a:lnTo>
                    <a:lnTo>
                      <a:pt x="15762" y="514"/>
                    </a:lnTo>
                    <a:lnTo>
                      <a:pt x="1547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2" name="AutoShape 126"/>
              <p:cNvSpPr>
                <a:spLocks/>
              </p:cNvSpPr>
              <p:nvPr/>
            </p:nvSpPr>
            <p:spPr bwMode="auto">
              <a:xfrm>
                <a:off x="379096" y="513551"/>
                <a:ext cx="84138" cy="8567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340" y="526"/>
                    </a:moveTo>
                    <a:lnTo>
                      <a:pt x="15178" y="0"/>
                    </a:lnTo>
                    <a:lnTo>
                      <a:pt x="15178" y="2634"/>
                    </a:lnTo>
                    <a:lnTo>
                      <a:pt x="15762" y="3160"/>
                    </a:lnTo>
                    <a:lnTo>
                      <a:pt x="21016" y="3160"/>
                    </a:lnTo>
                    <a:lnTo>
                      <a:pt x="21016" y="3687"/>
                    </a:lnTo>
                    <a:lnTo>
                      <a:pt x="21600" y="4741"/>
                    </a:lnTo>
                    <a:lnTo>
                      <a:pt x="21600" y="5795"/>
                    </a:lnTo>
                    <a:lnTo>
                      <a:pt x="21016" y="6848"/>
                    </a:lnTo>
                    <a:lnTo>
                      <a:pt x="19848" y="6848"/>
                    </a:lnTo>
                    <a:lnTo>
                      <a:pt x="19848" y="9482"/>
                    </a:lnTo>
                    <a:lnTo>
                      <a:pt x="21600" y="10009"/>
                    </a:lnTo>
                    <a:lnTo>
                      <a:pt x="21600" y="13697"/>
                    </a:lnTo>
                    <a:lnTo>
                      <a:pt x="20432" y="15804"/>
                    </a:lnTo>
                    <a:lnTo>
                      <a:pt x="19848" y="16331"/>
                    </a:lnTo>
                    <a:lnTo>
                      <a:pt x="16345" y="17385"/>
                    </a:lnTo>
                    <a:lnTo>
                      <a:pt x="15178" y="17385"/>
                    </a:lnTo>
                    <a:lnTo>
                      <a:pt x="14010" y="17912"/>
                    </a:lnTo>
                    <a:lnTo>
                      <a:pt x="13427" y="17912"/>
                    </a:lnTo>
                    <a:lnTo>
                      <a:pt x="12843" y="16331"/>
                    </a:lnTo>
                    <a:lnTo>
                      <a:pt x="12259" y="17912"/>
                    </a:lnTo>
                    <a:lnTo>
                      <a:pt x="9340" y="18965"/>
                    </a:lnTo>
                    <a:lnTo>
                      <a:pt x="8756" y="19492"/>
                    </a:lnTo>
                    <a:lnTo>
                      <a:pt x="8172" y="20546"/>
                    </a:lnTo>
                    <a:lnTo>
                      <a:pt x="7005" y="21599"/>
                    </a:lnTo>
                    <a:lnTo>
                      <a:pt x="6421" y="19492"/>
                    </a:lnTo>
                    <a:lnTo>
                      <a:pt x="5837" y="18965"/>
                    </a:lnTo>
                    <a:lnTo>
                      <a:pt x="5837" y="17912"/>
                    </a:lnTo>
                    <a:lnTo>
                      <a:pt x="4670" y="17912"/>
                    </a:lnTo>
                    <a:lnTo>
                      <a:pt x="4670" y="17385"/>
                    </a:lnTo>
                    <a:lnTo>
                      <a:pt x="4086" y="17385"/>
                    </a:lnTo>
                    <a:lnTo>
                      <a:pt x="583" y="14224"/>
                    </a:lnTo>
                    <a:lnTo>
                      <a:pt x="0" y="12117"/>
                    </a:lnTo>
                    <a:lnTo>
                      <a:pt x="0" y="11590"/>
                    </a:lnTo>
                    <a:lnTo>
                      <a:pt x="1751" y="4741"/>
                    </a:lnTo>
                    <a:lnTo>
                      <a:pt x="8756" y="4741"/>
                    </a:lnTo>
                    <a:lnTo>
                      <a:pt x="8756" y="3687"/>
                    </a:lnTo>
                    <a:lnTo>
                      <a:pt x="9340" y="52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3" name="AutoShape 127"/>
              <p:cNvSpPr>
                <a:spLocks/>
              </p:cNvSpPr>
              <p:nvPr/>
            </p:nvSpPr>
            <p:spPr bwMode="auto">
              <a:xfrm>
                <a:off x="387034" y="515137"/>
                <a:ext cx="28575" cy="1745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6615" y="0"/>
                    </a:moveTo>
                    <a:lnTo>
                      <a:pt x="11630" y="0"/>
                    </a:lnTo>
                    <a:lnTo>
                      <a:pt x="4984" y="5400"/>
                    </a:lnTo>
                    <a:lnTo>
                      <a:pt x="0" y="21599"/>
                    </a:lnTo>
                    <a:lnTo>
                      <a:pt x="18276" y="21599"/>
                    </a:lnTo>
                    <a:lnTo>
                      <a:pt x="19938" y="18899"/>
                    </a:lnTo>
                    <a:lnTo>
                      <a:pt x="19938" y="13499"/>
                    </a:lnTo>
                    <a:lnTo>
                      <a:pt x="21600" y="8100"/>
                    </a:lnTo>
                    <a:lnTo>
                      <a:pt x="21600" y="0"/>
                    </a:lnTo>
                    <a:lnTo>
                      <a:pt x="16615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4" name="AutoShape 128"/>
              <p:cNvSpPr>
                <a:spLocks/>
              </p:cNvSpPr>
              <p:nvPr/>
            </p:nvSpPr>
            <p:spPr bwMode="auto">
              <a:xfrm>
                <a:off x="680722" y="492924"/>
                <a:ext cx="80963" cy="7933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800" y="1705"/>
                    </a:moveTo>
                    <a:lnTo>
                      <a:pt x="4200" y="2273"/>
                    </a:lnTo>
                    <a:lnTo>
                      <a:pt x="4200" y="5115"/>
                    </a:lnTo>
                    <a:lnTo>
                      <a:pt x="3000" y="6252"/>
                    </a:lnTo>
                    <a:lnTo>
                      <a:pt x="3000" y="9094"/>
                    </a:lnTo>
                    <a:lnTo>
                      <a:pt x="2400" y="9663"/>
                    </a:lnTo>
                    <a:lnTo>
                      <a:pt x="2400" y="10800"/>
                    </a:lnTo>
                    <a:lnTo>
                      <a:pt x="1800" y="12505"/>
                    </a:lnTo>
                    <a:lnTo>
                      <a:pt x="600" y="14778"/>
                    </a:lnTo>
                    <a:lnTo>
                      <a:pt x="600" y="15347"/>
                    </a:lnTo>
                    <a:lnTo>
                      <a:pt x="0" y="16484"/>
                    </a:lnTo>
                    <a:lnTo>
                      <a:pt x="0" y="19326"/>
                    </a:lnTo>
                    <a:lnTo>
                      <a:pt x="600" y="20463"/>
                    </a:lnTo>
                    <a:lnTo>
                      <a:pt x="600" y="21599"/>
                    </a:lnTo>
                    <a:lnTo>
                      <a:pt x="1200" y="21599"/>
                    </a:lnTo>
                    <a:lnTo>
                      <a:pt x="2400" y="21031"/>
                    </a:lnTo>
                    <a:lnTo>
                      <a:pt x="3600" y="21031"/>
                    </a:lnTo>
                    <a:lnTo>
                      <a:pt x="7200" y="19894"/>
                    </a:lnTo>
                    <a:lnTo>
                      <a:pt x="8399" y="19326"/>
                    </a:lnTo>
                    <a:lnTo>
                      <a:pt x="13200" y="15915"/>
                    </a:lnTo>
                    <a:lnTo>
                      <a:pt x="13200" y="14778"/>
                    </a:lnTo>
                    <a:lnTo>
                      <a:pt x="13800" y="14210"/>
                    </a:lnTo>
                    <a:lnTo>
                      <a:pt x="16799" y="14210"/>
                    </a:lnTo>
                    <a:lnTo>
                      <a:pt x="21599" y="9663"/>
                    </a:lnTo>
                    <a:lnTo>
                      <a:pt x="20400" y="2842"/>
                    </a:lnTo>
                    <a:lnTo>
                      <a:pt x="20400" y="1136"/>
                    </a:lnTo>
                    <a:lnTo>
                      <a:pt x="19200" y="0"/>
                    </a:lnTo>
                    <a:lnTo>
                      <a:pt x="18000" y="568"/>
                    </a:lnTo>
                    <a:lnTo>
                      <a:pt x="14400" y="568"/>
                    </a:lnTo>
                    <a:lnTo>
                      <a:pt x="13200" y="1136"/>
                    </a:lnTo>
                    <a:lnTo>
                      <a:pt x="6600" y="1136"/>
                    </a:lnTo>
                    <a:lnTo>
                      <a:pt x="4800" y="170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5" name="AutoShape 129"/>
              <p:cNvSpPr>
                <a:spLocks/>
              </p:cNvSpPr>
              <p:nvPr/>
            </p:nvSpPr>
            <p:spPr bwMode="auto">
              <a:xfrm>
                <a:off x="682310" y="565909"/>
                <a:ext cx="25400" cy="2697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4984"/>
                    </a:moveTo>
                    <a:lnTo>
                      <a:pt x="17672" y="0"/>
                    </a:lnTo>
                    <a:lnTo>
                      <a:pt x="19636" y="0"/>
                    </a:lnTo>
                    <a:lnTo>
                      <a:pt x="19636" y="1661"/>
                    </a:lnTo>
                    <a:lnTo>
                      <a:pt x="21600" y="3323"/>
                    </a:lnTo>
                    <a:lnTo>
                      <a:pt x="21600" y="16615"/>
                    </a:lnTo>
                    <a:lnTo>
                      <a:pt x="17672" y="18276"/>
                    </a:lnTo>
                    <a:lnTo>
                      <a:pt x="15709" y="18276"/>
                    </a:lnTo>
                    <a:lnTo>
                      <a:pt x="11781" y="19938"/>
                    </a:lnTo>
                    <a:lnTo>
                      <a:pt x="11781" y="21599"/>
                    </a:lnTo>
                    <a:lnTo>
                      <a:pt x="7854" y="21599"/>
                    </a:lnTo>
                    <a:lnTo>
                      <a:pt x="1963" y="19938"/>
                    </a:lnTo>
                    <a:lnTo>
                      <a:pt x="1963" y="18276"/>
                    </a:lnTo>
                    <a:lnTo>
                      <a:pt x="0" y="14953"/>
                    </a:lnTo>
                    <a:lnTo>
                      <a:pt x="0" y="498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6" name="AutoShape 130"/>
              <p:cNvSpPr>
                <a:spLocks/>
              </p:cNvSpPr>
              <p:nvPr/>
            </p:nvSpPr>
            <p:spPr bwMode="auto">
              <a:xfrm>
                <a:off x="418784" y="607161"/>
                <a:ext cx="31750" cy="2380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42" y="9818"/>
                    </a:moveTo>
                    <a:lnTo>
                      <a:pt x="3085" y="21599"/>
                    </a:lnTo>
                    <a:lnTo>
                      <a:pt x="21600" y="3927"/>
                    </a:lnTo>
                    <a:lnTo>
                      <a:pt x="18514" y="0"/>
                    </a:lnTo>
                    <a:lnTo>
                      <a:pt x="15428" y="0"/>
                    </a:lnTo>
                    <a:lnTo>
                      <a:pt x="10800" y="1963"/>
                    </a:lnTo>
                    <a:lnTo>
                      <a:pt x="0" y="7854"/>
                    </a:lnTo>
                    <a:lnTo>
                      <a:pt x="1542" y="9818"/>
                    </a:lnTo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7" name="AutoShape 131"/>
              <p:cNvSpPr>
                <a:spLocks/>
              </p:cNvSpPr>
              <p:nvPr/>
            </p:nvSpPr>
            <p:spPr bwMode="auto">
              <a:xfrm>
                <a:off x="128271" y="4243"/>
                <a:ext cx="295275" cy="25703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32" y="12643"/>
                    </a:moveTo>
                    <a:lnTo>
                      <a:pt x="0" y="11239"/>
                    </a:lnTo>
                    <a:lnTo>
                      <a:pt x="996" y="10712"/>
                    </a:lnTo>
                    <a:lnTo>
                      <a:pt x="1661" y="10009"/>
                    </a:lnTo>
                    <a:lnTo>
                      <a:pt x="2824" y="9658"/>
                    </a:lnTo>
                    <a:lnTo>
                      <a:pt x="7144" y="8078"/>
                    </a:lnTo>
                    <a:lnTo>
                      <a:pt x="7310" y="7024"/>
                    </a:lnTo>
                    <a:lnTo>
                      <a:pt x="7310" y="6673"/>
                    </a:lnTo>
                    <a:lnTo>
                      <a:pt x="7643" y="6497"/>
                    </a:lnTo>
                    <a:lnTo>
                      <a:pt x="7809" y="6321"/>
                    </a:lnTo>
                    <a:lnTo>
                      <a:pt x="9138" y="6321"/>
                    </a:lnTo>
                    <a:lnTo>
                      <a:pt x="8473" y="5619"/>
                    </a:lnTo>
                    <a:lnTo>
                      <a:pt x="8141" y="4917"/>
                    </a:lnTo>
                    <a:lnTo>
                      <a:pt x="8141" y="3512"/>
                    </a:lnTo>
                    <a:lnTo>
                      <a:pt x="7809" y="2809"/>
                    </a:lnTo>
                    <a:lnTo>
                      <a:pt x="7476" y="2634"/>
                    </a:lnTo>
                    <a:lnTo>
                      <a:pt x="7144" y="2634"/>
                    </a:lnTo>
                    <a:lnTo>
                      <a:pt x="7310" y="2458"/>
                    </a:lnTo>
                    <a:lnTo>
                      <a:pt x="7643" y="2282"/>
                    </a:lnTo>
                    <a:lnTo>
                      <a:pt x="7809" y="2107"/>
                    </a:lnTo>
                    <a:lnTo>
                      <a:pt x="9636" y="1404"/>
                    </a:lnTo>
                    <a:lnTo>
                      <a:pt x="9969" y="1229"/>
                    </a:lnTo>
                    <a:lnTo>
                      <a:pt x="10467" y="1229"/>
                    </a:lnTo>
                    <a:lnTo>
                      <a:pt x="10800" y="1053"/>
                    </a:lnTo>
                    <a:lnTo>
                      <a:pt x="11298" y="878"/>
                    </a:lnTo>
                    <a:lnTo>
                      <a:pt x="11630" y="878"/>
                    </a:lnTo>
                    <a:lnTo>
                      <a:pt x="11796" y="702"/>
                    </a:lnTo>
                    <a:lnTo>
                      <a:pt x="12295" y="702"/>
                    </a:lnTo>
                    <a:lnTo>
                      <a:pt x="13126" y="351"/>
                    </a:lnTo>
                    <a:lnTo>
                      <a:pt x="14621" y="351"/>
                    </a:lnTo>
                    <a:lnTo>
                      <a:pt x="16449" y="175"/>
                    </a:lnTo>
                    <a:lnTo>
                      <a:pt x="16781" y="0"/>
                    </a:lnTo>
                    <a:lnTo>
                      <a:pt x="17113" y="0"/>
                    </a:lnTo>
                    <a:lnTo>
                      <a:pt x="17446" y="175"/>
                    </a:lnTo>
                    <a:lnTo>
                      <a:pt x="17778" y="175"/>
                    </a:lnTo>
                    <a:lnTo>
                      <a:pt x="18276" y="702"/>
                    </a:lnTo>
                    <a:lnTo>
                      <a:pt x="18110" y="702"/>
                    </a:lnTo>
                    <a:lnTo>
                      <a:pt x="18110" y="878"/>
                    </a:lnTo>
                    <a:lnTo>
                      <a:pt x="17944" y="1229"/>
                    </a:lnTo>
                    <a:lnTo>
                      <a:pt x="17944" y="2107"/>
                    </a:lnTo>
                    <a:lnTo>
                      <a:pt x="17778" y="2107"/>
                    </a:lnTo>
                    <a:lnTo>
                      <a:pt x="17778" y="2634"/>
                    </a:lnTo>
                    <a:lnTo>
                      <a:pt x="17612" y="2985"/>
                    </a:lnTo>
                    <a:lnTo>
                      <a:pt x="17446" y="2985"/>
                    </a:lnTo>
                    <a:lnTo>
                      <a:pt x="17446" y="3512"/>
                    </a:lnTo>
                    <a:lnTo>
                      <a:pt x="17612" y="3863"/>
                    </a:lnTo>
                    <a:lnTo>
                      <a:pt x="17612" y="4214"/>
                    </a:lnTo>
                    <a:lnTo>
                      <a:pt x="17778" y="4390"/>
                    </a:lnTo>
                    <a:lnTo>
                      <a:pt x="17778" y="4917"/>
                    </a:lnTo>
                    <a:lnTo>
                      <a:pt x="17944" y="5268"/>
                    </a:lnTo>
                    <a:lnTo>
                      <a:pt x="18110" y="5268"/>
                    </a:lnTo>
                    <a:lnTo>
                      <a:pt x="18276" y="5443"/>
                    </a:lnTo>
                    <a:lnTo>
                      <a:pt x="18276" y="5619"/>
                    </a:lnTo>
                    <a:lnTo>
                      <a:pt x="18443" y="6497"/>
                    </a:lnTo>
                    <a:lnTo>
                      <a:pt x="18609" y="7726"/>
                    </a:lnTo>
                    <a:lnTo>
                      <a:pt x="18941" y="8956"/>
                    </a:lnTo>
                    <a:lnTo>
                      <a:pt x="19439" y="9658"/>
                    </a:lnTo>
                    <a:lnTo>
                      <a:pt x="19439" y="10536"/>
                    </a:lnTo>
                    <a:lnTo>
                      <a:pt x="19606" y="11063"/>
                    </a:lnTo>
                    <a:lnTo>
                      <a:pt x="19606" y="11414"/>
                    </a:lnTo>
                    <a:lnTo>
                      <a:pt x="19772" y="11765"/>
                    </a:lnTo>
                    <a:lnTo>
                      <a:pt x="19772" y="12292"/>
                    </a:lnTo>
                    <a:lnTo>
                      <a:pt x="19938" y="12468"/>
                    </a:lnTo>
                    <a:lnTo>
                      <a:pt x="20270" y="12643"/>
                    </a:lnTo>
                    <a:lnTo>
                      <a:pt x="20270" y="13521"/>
                    </a:lnTo>
                    <a:lnTo>
                      <a:pt x="20436" y="13873"/>
                    </a:lnTo>
                    <a:lnTo>
                      <a:pt x="20104" y="14575"/>
                    </a:lnTo>
                    <a:lnTo>
                      <a:pt x="20436" y="14926"/>
                    </a:lnTo>
                    <a:lnTo>
                      <a:pt x="20436" y="15804"/>
                    </a:lnTo>
                    <a:lnTo>
                      <a:pt x="20603" y="16156"/>
                    </a:lnTo>
                    <a:lnTo>
                      <a:pt x="20769" y="16331"/>
                    </a:lnTo>
                    <a:lnTo>
                      <a:pt x="21600" y="17560"/>
                    </a:lnTo>
                    <a:lnTo>
                      <a:pt x="15950" y="20721"/>
                    </a:lnTo>
                    <a:lnTo>
                      <a:pt x="12627" y="21599"/>
                    </a:lnTo>
                    <a:lnTo>
                      <a:pt x="12295" y="20195"/>
                    </a:lnTo>
                    <a:lnTo>
                      <a:pt x="9969" y="20195"/>
                    </a:lnTo>
                    <a:lnTo>
                      <a:pt x="332" y="12643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8" name="AutoShape 132"/>
              <p:cNvSpPr>
                <a:spLocks/>
              </p:cNvSpPr>
              <p:nvPr/>
            </p:nvSpPr>
            <p:spPr bwMode="auto">
              <a:xfrm>
                <a:off x="7621" y="148626"/>
                <a:ext cx="127000" cy="10313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20718"/>
                    </a:moveTo>
                    <a:lnTo>
                      <a:pt x="0" y="18955"/>
                    </a:lnTo>
                    <a:lnTo>
                      <a:pt x="1157" y="16310"/>
                    </a:lnTo>
                    <a:lnTo>
                      <a:pt x="1928" y="15428"/>
                    </a:lnTo>
                    <a:lnTo>
                      <a:pt x="5399" y="14106"/>
                    </a:lnTo>
                    <a:lnTo>
                      <a:pt x="6171" y="13665"/>
                    </a:lnTo>
                    <a:lnTo>
                      <a:pt x="6171" y="12342"/>
                    </a:lnTo>
                    <a:lnTo>
                      <a:pt x="5785" y="11902"/>
                    </a:lnTo>
                    <a:lnTo>
                      <a:pt x="5399" y="11902"/>
                    </a:lnTo>
                    <a:lnTo>
                      <a:pt x="4628" y="9257"/>
                    </a:lnTo>
                    <a:lnTo>
                      <a:pt x="5399" y="7934"/>
                    </a:lnTo>
                    <a:lnTo>
                      <a:pt x="5785" y="7053"/>
                    </a:lnTo>
                    <a:lnTo>
                      <a:pt x="6942" y="6171"/>
                    </a:lnTo>
                    <a:lnTo>
                      <a:pt x="8485" y="5289"/>
                    </a:lnTo>
                    <a:lnTo>
                      <a:pt x="9257" y="5289"/>
                    </a:lnTo>
                    <a:lnTo>
                      <a:pt x="9642" y="3526"/>
                    </a:lnTo>
                    <a:lnTo>
                      <a:pt x="10028" y="2644"/>
                    </a:lnTo>
                    <a:lnTo>
                      <a:pt x="10028" y="2204"/>
                    </a:lnTo>
                    <a:lnTo>
                      <a:pt x="10414" y="2204"/>
                    </a:lnTo>
                    <a:lnTo>
                      <a:pt x="10800" y="881"/>
                    </a:lnTo>
                    <a:lnTo>
                      <a:pt x="11571" y="0"/>
                    </a:lnTo>
                    <a:lnTo>
                      <a:pt x="12728" y="0"/>
                    </a:lnTo>
                    <a:lnTo>
                      <a:pt x="21600" y="1322"/>
                    </a:lnTo>
                    <a:lnTo>
                      <a:pt x="21600" y="4408"/>
                    </a:lnTo>
                    <a:lnTo>
                      <a:pt x="16971" y="4408"/>
                    </a:lnTo>
                    <a:lnTo>
                      <a:pt x="16585" y="3967"/>
                    </a:lnTo>
                    <a:lnTo>
                      <a:pt x="16199" y="3967"/>
                    </a:lnTo>
                    <a:lnTo>
                      <a:pt x="15814" y="4408"/>
                    </a:lnTo>
                    <a:lnTo>
                      <a:pt x="15814" y="6612"/>
                    </a:lnTo>
                    <a:lnTo>
                      <a:pt x="15428" y="8375"/>
                    </a:lnTo>
                    <a:lnTo>
                      <a:pt x="15428" y="12783"/>
                    </a:lnTo>
                    <a:lnTo>
                      <a:pt x="15042" y="13224"/>
                    </a:lnTo>
                    <a:lnTo>
                      <a:pt x="12728" y="13224"/>
                    </a:lnTo>
                    <a:lnTo>
                      <a:pt x="11957" y="14106"/>
                    </a:lnTo>
                    <a:lnTo>
                      <a:pt x="11571" y="14987"/>
                    </a:lnTo>
                    <a:lnTo>
                      <a:pt x="11571" y="16310"/>
                    </a:lnTo>
                    <a:lnTo>
                      <a:pt x="11185" y="21599"/>
                    </a:lnTo>
                    <a:lnTo>
                      <a:pt x="0" y="20718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69" name="AutoShape 133"/>
              <p:cNvSpPr>
                <a:spLocks/>
              </p:cNvSpPr>
              <p:nvPr/>
            </p:nvSpPr>
            <p:spPr bwMode="auto">
              <a:xfrm>
                <a:off x="-316" y="154973"/>
                <a:ext cx="179387" cy="19039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19463"/>
                    </a:moveTo>
                    <a:lnTo>
                      <a:pt x="546" y="18751"/>
                    </a:lnTo>
                    <a:lnTo>
                      <a:pt x="820" y="18276"/>
                    </a:lnTo>
                    <a:lnTo>
                      <a:pt x="1913" y="17327"/>
                    </a:lnTo>
                    <a:lnTo>
                      <a:pt x="2187" y="17327"/>
                    </a:lnTo>
                    <a:lnTo>
                      <a:pt x="2460" y="16852"/>
                    </a:lnTo>
                    <a:lnTo>
                      <a:pt x="2460" y="15665"/>
                    </a:lnTo>
                    <a:lnTo>
                      <a:pt x="1913" y="14716"/>
                    </a:lnTo>
                    <a:lnTo>
                      <a:pt x="1640" y="14479"/>
                    </a:lnTo>
                    <a:lnTo>
                      <a:pt x="1640" y="14241"/>
                    </a:lnTo>
                    <a:lnTo>
                      <a:pt x="820" y="13054"/>
                    </a:lnTo>
                    <a:lnTo>
                      <a:pt x="2187" y="11393"/>
                    </a:lnTo>
                    <a:lnTo>
                      <a:pt x="820" y="10443"/>
                    </a:lnTo>
                    <a:lnTo>
                      <a:pt x="1913" y="10443"/>
                    </a:lnTo>
                    <a:lnTo>
                      <a:pt x="8749" y="10918"/>
                    </a:lnTo>
                    <a:lnTo>
                      <a:pt x="9022" y="8070"/>
                    </a:lnTo>
                    <a:lnTo>
                      <a:pt x="9022" y="7358"/>
                    </a:lnTo>
                    <a:lnTo>
                      <a:pt x="9296" y="6883"/>
                    </a:lnTo>
                    <a:lnTo>
                      <a:pt x="9843" y="6408"/>
                    </a:lnTo>
                    <a:lnTo>
                      <a:pt x="11483" y="6408"/>
                    </a:lnTo>
                    <a:lnTo>
                      <a:pt x="11756" y="6171"/>
                    </a:lnTo>
                    <a:lnTo>
                      <a:pt x="11756" y="3797"/>
                    </a:lnTo>
                    <a:lnTo>
                      <a:pt x="12030" y="2848"/>
                    </a:lnTo>
                    <a:lnTo>
                      <a:pt x="12030" y="1661"/>
                    </a:lnTo>
                    <a:lnTo>
                      <a:pt x="12303" y="1424"/>
                    </a:lnTo>
                    <a:lnTo>
                      <a:pt x="12577" y="1424"/>
                    </a:lnTo>
                    <a:lnTo>
                      <a:pt x="12850" y="1661"/>
                    </a:lnTo>
                    <a:lnTo>
                      <a:pt x="16131" y="1661"/>
                    </a:lnTo>
                    <a:lnTo>
                      <a:pt x="16131" y="0"/>
                    </a:lnTo>
                    <a:lnTo>
                      <a:pt x="21599" y="3323"/>
                    </a:lnTo>
                    <a:lnTo>
                      <a:pt x="18592" y="3323"/>
                    </a:lnTo>
                    <a:lnTo>
                      <a:pt x="18592" y="3797"/>
                    </a:lnTo>
                    <a:lnTo>
                      <a:pt x="19412" y="16852"/>
                    </a:lnTo>
                    <a:lnTo>
                      <a:pt x="19686" y="17327"/>
                    </a:lnTo>
                    <a:lnTo>
                      <a:pt x="19686" y="17564"/>
                    </a:lnTo>
                    <a:lnTo>
                      <a:pt x="19959" y="18039"/>
                    </a:lnTo>
                    <a:lnTo>
                      <a:pt x="19959" y="18514"/>
                    </a:lnTo>
                    <a:lnTo>
                      <a:pt x="19139" y="19463"/>
                    </a:lnTo>
                    <a:lnTo>
                      <a:pt x="12030" y="18751"/>
                    </a:lnTo>
                    <a:lnTo>
                      <a:pt x="11483" y="19226"/>
                    </a:lnTo>
                    <a:lnTo>
                      <a:pt x="11210" y="19226"/>
                    </a:lnTo>
                    <a:lnTo>
                      <a:pt x="10936" y="18989"/>
                    </a:lnTo>
                    <a:lnTo>
                      <a:pt x="10663" y="18989"/>
                    </a:lnTo>
                    <a:lnTo>
                      <a:pt x="10389" y="19226"/>
                    </a:lnTo>
                    <a:lnTo>
                      <a:pt x="10389" y="20175"/>
                    </a:lnTo>
                    <a:lnTo>
                      <a:pt x="10116" y="20413"/>
                    </a:lnTo>
                    <a:lnTo>
                      <a:pt x="9843" y="20413"/>
                    </a:lnTo>
                    <a:lnTo>
                      <a:pt x="9843" y="20650"/>
                    </a:lnTo>
                    <a:lnTo>
                      <a:pt x="9296" y="21125"/>
                    </a:lnTo>
                    <a:lnTo>
                      <a:pt x="9022" y="21599"/>
                    </a:lnTo>
                    <a:lnTo>
                      <a:pt x="8475" y="21599"/>
                    </a:lnTo>
                    <a:lnTo>
                      <a:pt x="8475" y="21362"/>
                    </a:lnTo>
                    <a:lnTo>
                      <a:pt x="8202" y="21125"/>
                    </a:lnTo>
                    <a:lnTo>
                      <a:pt x="7382" y="21125"/>
                    </a:lnTo>
                    <a:lnTo>
                      <a:pt x="6835" y="20887"/>
                    </a:lnTo>
                    <a:lnTo>
                      <a:pt x="6288" y="20413"/>
                    </a:lnTo>
                    <a:lnTo>
                      <a:pt x="6015" y="19701"/>
                    </a:lnTo>
                    <a:lnTo>
                      <a:pt x="5741" y="19701"/>
                    </a:lnTo>
                    <a:lnTo>
                      <a:pt x="5468" y="19226"/>
                    </a:lnTo>
                    <a:lnTo>
                      <a:pt x="4374" y="18751"/>
                    </a:lnTo>
                    <a:lnTo>
                      <a:pt x="3554" y="18514"/>
                    </a:lnTo>
                    <a:lnTo>
                      <a:pt x="2734" y="18514"/>
                    </a:lnTo>
                    <a:lnTo>
                      <a:pt x="0" y="19463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0" name="AutoShape 134"/>
              <p:cNvSpPr>
                <a:spLocks/>
              </p:cNvSpPr>
              <p:nvPr/>
            </p:nvSpPr>
            <p:spPr bwMode="auto">
              <a:xfrm>
                <a:off x="15559" y="362821"/>
                <a:ext cx="46037" cy="2855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2959" y="0"/>
                    </a:moveTo>
                    <a:lnTo>
                      <a:pt x="10800" y="0"/>
                    </a:lnTo>
                    <a:lnTo>
                      <a:pt x="9720" y="1542"/>
                    </a:lnTo>
                    <a:lnTo>
                      <a:pt x="7560" y="1542"/>
                    </a:lnTo>
                    <a:lnTo>
                      <a:pt x="4320" y="3085"/>
                    </a:lnTo>
                    <a:lnTo>
                      <a:pt x="0" y="6171"/>
                    </a:lnTo>
                    <a:lnTo>
                      <a:pt x="1080" y="9257"/>
                    </a:lnTo>
                    <a:lnTo>
                      <a:pt x="3240" y="12342"/>
                    </a:lnTo>
                    <a:lnTo>
                      <a:pt x="5400" y="16971"/>
                    </a:lnTo>
                    <a:lnTo>
                      <a:pt x="8640" y="21600"/>
                    </a:lnTo>
                    <a:lnTo>
                      <a:pt x="9720" y="21600"/>
                    </a:lnTo>
                    <a:lnTo>
                      <a:pt x="10800" y="20057"/>
                    </a:lnTo>
                    <a:lnTo>
                      <a:pt x="12959" y="20057"/>
                    </a:lnTo>
                    <a:lnTo>
                      <a:pt x="17279" y="16971"/>
                    </a:lnTo>
                    <a:lnTo>
                      <a:pt x="19439" y="16971"/>
                    </a:lnTo>
                    <a:lnTo>
                      <a:pt x="20519" y="15428"/>
                    </a:lnTo>
                    <a:lnTo>
                      <a:pt x="20519" y="12342"/>
                    </a:lnTo>
                    <a:lnTo>
                      <a:pt x="21599" y="12342"/>
                    </a:lnTo>
                    <a:lnTo>
                      <a:pt x="20519" y="6171"/>
                    </a:lnTo>
                    <a:lnTo>
                      <a:pt x="20519" y="1542"/>
                    </a:lnTo>
                    <a:lnTo>
                      <a:pt x="1295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1" name="AutoShape 135"/>
              <p:cNvSpPr>
                <a:spLocks/>
              </p:cNvSpPr>
              <p:nvPr/>
            </p:nvSpPr>
            <p:spPr bwMode="auto">
              <a:xfrm>
                <a:off x="-316" y="318395"/>
                <a:ext cx="74612" cy="5235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654" y="12960"/>
                    </a:moveTo>
                    <a:lnTo>
                      <a:pt x="654" y="9504"/>
                    </a:lnTo>
                    <a:lnTo>
                      <a:pt x="0" y="6912"/>
                    </a:lnTo>
                    <a:lnTo>
                      <a:pt x="0" y="2591"/>
                    </a:lnTo>
                    <a:lnTo>
                      <a:pt x="654" y="2591"/>
                    </a:lnTo>
                    <a:lnTo>
                      <a:pt x="6545" y="0"/>
                    </a:lnTo>
                    <a:lnTo>
                      <a:pt x="8509" y="0"/>
                    </a:lnTo>
                    <a:lnTo>
                      <a:pt x="12436" y="1727"/>
                    </a:lnTo>
                    <a:lnTo>
                      <a:pt x="13090" y="3455"/>
                    </a:lnTo>
                    <a:lnTo>
                      <a:pt x="13745" y="4319"/>
                    </a:lnTo>
                    <a:lnTo>
                      <a:pt x="14399" y="4319"/>
                    </a:lnTo>
                    <a:lnTo>
                      <a:pt x="15709" y="7775"/>
                    </a:lnTo>
                    <a:lnTo>
                      <a:pt x="16363" y="8640"/>
                    </a:lnTo>
                    <a:lnTo>
                      <a:pt x="18327" y="9504"/>
                    </a:lnTo>
                    <a:lnTo>
                      <a:pt x="19636" y="10368"/>
                    </a:lnTo>
                    <a:lnTo>
                      <a:pt x="20290" y="11232"/>
                    </a:lnTo>
                    <a:lnTo>
                      <a:pt x="20945" y="11232"/>
                    </a:lnTo>
                    <a:lnTo>
                      <a:pt x="20945" y="15552"/>
                    </a:lnTo>
                    <a:lnTo>
                      <a:pt x="21599" y="18144"/>
                    </a:lnTo>
                    <a:lnTo>
                      <a:pt x="21599" y="19008"/>
                    </a:lnTo>
                    <a:lnTo>
                      <a:pt x="13090" y="19008"/>
                    </a:lnTo>
                    <a:lnTo>
                      <a:pt x="12436" y="18144"/>
                    </a:lnTo>
                    <a:lnTo>
                      <a:pt x="11127" y="18144"/>
                    </a:lnTo>
                    <a:lnTo>
                      <a:pt x="9818" y="19008"/>
                    </a:lnTo>
                    <a:lnTo>
                      <a:pt x="8509" y="19008"/>
                    </a:lnTo>
                    <a:lnTo>
                      <a:pt x="5890" y="20736"/>
                    </a:lnTo>
                    <a:lnTo>
                      <a:pt x="5236" y="20736"/>
                    </a:lnTo>
                    <a:lnTo>
                      <a:pt x="4581" y="21600"/>
                    </a:lnTo>
                    <a:lnTo>
                      <a:pt x="3927" y="19872"/>
                    </a:lnTo>
                    <a:lnTo>
                      <a:pt x="1963" y="17280"/>
                    </a:lnTo>
                    <a:lnTo>
                      <a:pt x="1309" y="15552"/>
                    </a:lnTo>
                    <a:lnTo>
                      <a:pt x="654" y="1296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2" name="AutoShape 136"/>
              <p:cNvSpPr>
                <a:spLocks/>
              </p:cNvSpPr>
              <p:nvPr/>
            </p:nvSpPr>
            <p:spPr bwMode="auto">
              <a:xfrm>
                <a:off x="4446" y="339022"/>
                <a:ext cx="47625" cy="1110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0" y="17280"/>
                    </a:lnTo>
                    <a:lnTo>
                      <a:pt x="1028" y="17280"/>
                    </a:lnTo>
                    <a:lnTo>
                      <a:pt x="3085" y="12960"/>
                    </a:lnTo>
                    <a:lnTo>
                      <a:pt x="5142" y="12960"/>
                    </a:lnTo>
                    <a:lnTo>
                      <a:pt x="11314" y="21599"/>
                    </a:lnTo>
                    <a:lnTo>
                      <a:pt x="14400" y="21599"/>
                    </a:lnTo>
                    <a:lnTo>
                      <a:pt x="15428" y="17280"/>
                    </a:lnTo>
                    <a:lnTo>
                      <a:pt x="16457" y="17280"/>
                    </a:lnTo>
                    <a:lnTo>
                      <a:pt x="17485" y="12960"/>
                    </a:lnTo>
                    <a:lnTo>
                      <a:pt x="21600" y="12960"/>
                    </a:lnTo>
                    <a:lnTo>
                      <a:pt x="21600" y="8640"/>
                    </a:lnTo>
                    <a:lnTo>
                      <a:pt x="20571" y="8640"/>
                    </a:lnTo>
                    <a:lnTo>
                      <a:pt x="16457" y="0"/>
                    </a:lnTo>
                    <a:lnTo>
                      <a:pt x="14400" y="0"/>
                    </a:lnTo>
                    <a:lnTo>
                      <a:pt x="12342" y="4320"/>
                    </a:lnTo>
                    <a:lnTo>
                      <a:pt x="6171" y="4320"/>
                    </a:lnTo>
                    <a:lnTo>
                      <a:pt x="514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3" name="AutoShape 137"/>
              <p:cNvSpPr>
                <a:spLocks/>
              </p:cNvSpPr>
              <p:nvPr/>
            </p:nvSpPr>
            <p:spPr bwMode="auto">
              <a:xfrm>
                <a:off x="90171" y="427873"/>
                <a:ext cx="95250" cy="5870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6171" y="16971"/>
                    </a:moveTo>
                    <a:lnTo>
                      <a:pt x="5657" y="14657"/>
                    </a:lnTo>
                    <a:lnTo>
                      <a:pt x="0" y="7714"/>
                    </a:lnTo>
                    <a:lnTo>
                      <a:pt x="1028" y="6942"/>
                    </a:lnTo>
                    <a:lnTo>
                      <a:pt x="1542" y="6171"/>
                    </a:lnTo>
                    <a:lnTo>
                      <a:pt x="3085" y="4628"/>
                    </a:lnTo>
                    <a:lnTo>
                      <a:pt x="3599" y="3085"/>
                    </a:lnTo>
                    <a:lnTo>
                      <a:pt x="4114" y="0"/>
                    </a:lnTo>
                    <a:lnTo>
                      <a:pt x="7199" y="0"/>
                    </a:lnTo>
                    <a:lnTo>
                      <a:pt x="7714" y="771"/>
                    </a:lnTo>
                    <a:lnTo>
                      <a:pt x="9771" y="2314"/>
                    </a:lnTo>
                    <a:lnTo>
                      <a:pt x="10285" y="3085"/>
                    </a:lnTo>
                    <a:lnTo>
                      <a:pt x="11314" y="3857"/>
                    </a:lnTo>
                    <a:lnTo>
                      <a:pt x="11828" y="3857"/>
                    </a:lnTo>
                    <a:lnTo>
                      <a:pt x="11828" y="3085"/>
                    </a:lnTo>
                    <a:lnTo>
                      <a:pt x="12342" y="3085"/>
                    </a:lnTo>
                    <a:lnTo>
                      <a:pt x="13371" y="1542"/>
                    </a:lnTo>
                    <a:lnTo>
                      <a:pt x="14914" y="1542"/>
                    </a:lnTo>
                    <a:lnTo>
                      <a:pt x="15942" y="2314"/>
                    </a:lnTo>
                    <a:lnTo>
                      <a:pt x="16457" y="3857"/>
                    </a:lnTo>
                    <a:lnTo>
                      <a:pt x="16457" y="6942"/>
                    </a:lnTo>
                    <a:lnTo>
                      <a:pt x="16971" y="8485"/>
                    </a:lnTo>
                    <a:lnTo>
                      <a:pt x="18000" y="9257"/>
                    </a:lnTo>
                    <a:lnTo>
                      <a:pt x="20057" y="9257"/>
                    </a:lnTo>
                    <a:lnTo>
                      <a:pt x="20571" y="10028"/>
                    </a:lnTo>
                    <a:lnTo>
                      <a:pt x="21085" y="11571"/>
                    </a:lnTo>
                    <a:lnTo>
                      <a:pt x="21600" y="13885"/>
                    </a:lnTo>
                    <a:lnTo>
                      <a:pt x="21085" y="15428"/>
                    </a:lnTo>
                    <a:lnTo>
                      <a:pt x="21085" y="16200"/>
                    </a:lnTo>
                    <a:lnTo>
                      <a:pt x="20571" y="16971"/>
                    </a:lnTo>
                    <a:lnTo>
                      <a:pt x="20571" y="17742"/>
                    </a:lnTo>
                    <a:lnTo>
                      <a:pt x="12342" y="21600"/>
                    </a:lnTo>
                    <a:lnTo>
                      <a:pt x="11314" y="21600"/>
                    </a:lnTo>
                    <a:lnTo>
                      <a:pt x="8228" y="20057"/>
                    </a:lnTo>
                    <a:lnTo>
                      <a:pt x="7199" y="19285"/>
                    </a:lnTo>
                    <a:lnTo>
                      <a:pt x="6685" y="18514"/>
                    </a:lnTo>
                    <a:lnTo>
                      <a:pt x="6171" y="1697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4" name="AutoShape 138"/>
              <p:cNvSpPr>
                <a:spLocks/>
              </p:cNvSpPr>
              <p:nvPr/>
            </p:nvSpPr>
            <p:spPr bwMode="auto">
              <a:xfrm>
                <a:off x="71121" y="402487"/>
                <a:ext cx="39688" cy="4601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8836"/>
                    </a:moveTo>
                    <a:lnTo>
                      <a:pt x="0" y="5890"/>
                    </a:lnTo>
                    <a:lnTo>
                      <a:pt x="1200" y="3927"/>
                    </a:lnTo>
                    <a:lnTo>
                      <a:pt x="4799" y="981"/>
                    </a:lnTo>
                    <a:lnTo>
                      <a:pt x="8399" y="0"/>
                    </a:lnTo>
                    <a:lnTo>
                      <a:pt x="14400" y="0"/>
                    </a:lnTo>
                    <a:lnTo>
                      <a:pt x="15600" y="981"/>
                    </a:lnTo>
                    <a:lnTo>
                      <a:pt x="16799" y="981"/>
                    </a:lnTo>
                    <a:lnTo>
                      <a:pt x="17999" y="1963"/>
                    </a:lnTo>
                    <a:lnTo>
                      <a:pt x="19199" y="1963"/>
                    </a:lnTo>
                    <a:lnTo>
                      <a:pt x="21599" y="5890"/>
                    </a:lnTo>
                    <a:lnTo>
                      <a:pt x="21599" y="9818"/>
                    </a:lnTo>
                    <a:lnTo>
                      <a:pt x="20400" y="13745"/>
                    </a:lnTo>
                    <a:lnTo>
                      <a:pt x="17999" y="16690"/>
                    </a:lnTo>
                    <a:lnTo>
                      <a:pt x="16799" y="18654"/>
                    </a:lnTo>
                    <a:lnTo>
                      <a:pt x="14400" y="19636"/>
                    </a:lnTo>
                    <a:lnTo>
                      <a:pt x="11999" y="21599"/>
                    </a:lnTo>
                    <a:lnTo>
                      <a:pt x="9599" y="21599"/>
                    </a:lnTo>
                    <a:lnTo>
                      <a:pt x="8399" y="20618"/>
                    </a:lnTo>
                    <a:lnTo>
                      <a:pt x="5999" y="19636"/>
                    </a:lnTo>
                    <a:lnTo>
                      <a:pt x="4799" y="18654"/>
                    </a:lnTo>
                    <a:lnTo>
                      <a:pt x="0" y="883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5" name="AutoShape 139"/>
              <p:cNvSpPr>
                <a:spLocks/>
              </p:cNvSpPr>
              <p:nvPr/>
            </p:nvSpPr>
            <p:spPr bwMode="auto">
              <a:xfrm>
                <a:off x="33021" y="364408"/>
                <a:ext cx="114300" cy="7298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888" y="12342"/>
                    </a:moveTo>
                    <a:lnTo>
                      <a:pt x="0" y="8022"/>
                    </a:lnTo>
                    <a:lnTo>
                      <a:pt x="3888" y="6171"/>
                    </a:lnTo>
                    <a:lnTo>
                      <a:pt x="4752" y="4937"/>
                    </a:lnTo>
                    <a:lnTo>
                      <a:pt x="5184" y="3702"/>
                    </a:lnTo>
                    <a:lnTo>
                      <a:pt x="5184" y="2468"/>
                    </a:lnTo>
                    <a:lnTo>
                      <a:pt x="4752" y="1234"/>
                    </a:lnTo>
                    <a:lnTo>
                      <a:pt x="4752" y="0"/>
                    </a:lnTo>
                    <a:lnTo>
                      <a:pt x="7344" y="0"/>
                    </a:lnTo>
                    <a:lnTo>
                      <a:pt x="8208" y="1234"/>
                    </a:lnTo>
                    <a:lnTo>
                      <a:pt x="8208" y="1851"/>
                    </a:lnTo>
                    <a:lnTo>
                      <a:pt x="9504" y="1851"/>
                    </a:lnTo>
                    <a:lnTo>
                      <a:pt x="9936" y="2468"/>
                    </a:lnTo>
                    <a:lnTo>
                      <a:pt x="11232" y="3085"/>
                    </a:lnTo>
                    <a:lnTo>
                      <a:pt x="13392" y="3085"/>
                    </a:lnTo>
                    <a:lnTo>
                      <a:pt x="14256" y="1851"/>
                    </a:lnTo>
                    <a:lnTo>
                      <a:pt x="13824" y="1851"/>
                    </a:lnTo>
                    <a:lnTo>
                      <a:pt x="13824" y="1234"/>
                    </a:lnTo>
                    <a:lnTo>
                      <a:pt x="14256" y="1234"/>
                    </a:lnTo>
                    <a:lnTo>
                      <a:pt x="15120" y="617"/>
                    </a:lnTo>
                    <a:lnTo>
                      <a:pt x="15552" y="617"/>
                    </a:lnTo>
                    <a:lnTo>
                      <a:pt x="16416" y="1234"/>
                    </a:lnTo>
                    <a:lnTo>
                      <a:pt x="16848" y="1851"/>
                    </a:lnTo>
                    <a:lnTo>
                      <a:pt x="16848" y="3085"/>
                    </a:lnTo>
                    <a:lnTo>
                      <a:pt x="18144" y="6788"/>
                    </a:lnTo>
                    <a:lnTo>
                      <a:pt x="19008" y="8022"/>
                    </a:lnTo>
                    <a:lnTo>
                      <a:pt x="19008" y="9257"/>
                    </a:lnTo>
                    <a:lnTo>
                      <a:pt x="19440" y="11108"/>
                    </a:lnTo>
                    <a:lnTo>
                      <a:pt x="19872" y="12342"/>
                    </a:lnTo>
                    <a:lnTo>
                      <a:pt x="20736" y="15428"/>
                    </a:lnTo>
                    <a:lnTo>
                      <a:pt x="21168" y="17897"/>
                    </a:lnTo>
                    <a:lnTo>
                      <a:pt x="21599" y="19748"/>
                    </a:lnTo>
                    <a:lnTo>
                      <a:pt x="21168" y="20982"/>
                    </a:lnTo>
                    <a:lnTo>
                      <a:pt x="20736" y="21599"/>
                    </a:lnTo>
                    <a:lnTo>
                      <a:pt x="19872" y="21599"/>
                    </a:lnTo>
                    <a:lnTo>
                      <a:pt x="19008" y="20365"/>
                    </a:lnTo>
                    <a:lnTo>
                      <a:pt x="17712" y="19748"/>
                    </a:lnTo>
                    <a:lnTo>
                      <a:pt x="16848" y="18514"/>
                    </a:lnTo>
                    <a:lnTo>
                      <a:pt x="14688" y="18514"/>
                    </a:lnTo>
                    <a:lnTo>
                      <a:pt x="14688" y="14194"/>
                    </a:lnTo>
                    <a:lnTo>
                      <a:pt x="14256" y="12960"/>
                    </a:lnTo>
                    <a:lnTo>
                      <a:pt x="12528" y="11725"/>
                    </a:lnTo>
                    <a:lnTo>
                      <a:pt x="10800" y="11108"/>
                    </a:lnTo>
                    <a:lnTo>
                      <a:pt x="10368" y="11108"/>
                    </a:lnTo>
                    <a:lnTo>
                      <a:pt x="7776" y="12960"/>
                    </a:lnTo>
                    <a:lnTo>
                      <a:pt x="6912" y="14194"/>
                    </a:lnTo>
                    <a:lnTo>
                      <a:pt x="6912" y="16045"/>
                    </a:lnTo>
                    <a:lnTo>
                      <a:pt x="3888" y="1234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6" name="AutoShape 140"/>
              <p:cNvSpPr>
                <a:spLocks/>
              </p:cNvSpPr>
              <p:nvPr/>
            </p:nvSpPr>
            <p:spPr bwMode="auto">
              <a:xfrm>
                <a:off x="134621" y="385034"/>
                <a:ext cx="93663" cy="9202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21109"/>
                    </a:moveTo>
                    <a:lnTo>
                      <a:pt x="10800" y="20618"/>
                    </a:lnTo>
                    <a:lnTo>
                      <a:pt x="11314" y="20127"/>
                    </a:lnTo>
                    <a:lnTo>
                      <a:pt x="11314" y="19145"/>
                    </a:lnTo>
                    <a:lnTo>
                      <a:pt x="11828" y="18163"/>
                    </a:lnTo>
                    <a:lnTo>
                      <a:pt x="11314" y="16690"/>
                    </a:lnTo>
                    <a:lnTo>
                      <a:pt x="10285" y="15709"/>
                    </a:lnTo>
                    <a:lnTo>
                      <a:pt x="7714" y="15709"/>
                    </a:lnTo>
                    <a:lnTo>
                      <a:pt x="7199" y="15218"/>
                    </a:lnTo>
                    <a:lnTo>
                      <a:pt x="6685" y="14236"/>
                    </a:lnTo>
                    <a:lnTo>
                      <a:pt x="6685" y="11781"/>
                    </a:lnTo>
                    <a:lnTo>
                      <a:pt x="5657" y="10800"/>
                    </a:lnTo>
                    <a:lnTo>
                      <a:pt x="4628" y="10309"/>
                    </a:lnTo>
                    <a:lnTo>
                      <a:pt x="3599" y="10800"/>
                    </a:lnTo>
                    <a:lnTo>
                      <a:pt x="2571" y="11781"/>
                    </a:lnTo>
                    <a:lnTo>
                      <a:pt x="2571" y="8836"/>
                    </a:lnTo>
                    <a:lnTo>
                      <a:pt x="514" y="4909"/>
                    </a:lnTo>
                    <a:lnTo>
                      <a:pt x="514" y="3436"/>
                    </a:lnTo>
                    <a:lnTo>
                      <a:pt x="0" y="2454"/>
                    </a:lnTo>
                    <a:lnTo>
                      <a:pt x="0" y="1472"/>
                    </a:lnTo>
                    <a:lnTo>
                      <a:pt x="514" y="1472"/>
                    </a:lnTo>
                    <a:lnTo>
                      <a:pt x="1542" y="1963"/>
                    </a:lnTo>
                    <a:lnTo>
                      <a:pt x="2571" y="1963"/>
                    </a:lnTo>
                    <a:lnTo>
                      <a:pt x="4114" y="1472"/>
                    </a:lnTo>
                    <a:lnTo>
                      <a:pt x="5142" y="981"/>
                    </a:lnTo>
                    <a:lnTo>
                      <a:pt x="5657" y="981"/>
                    </a:lnTo>
                    <a:lnTo>
                      <a:pt x="5657" y="490"/>
                    </a:lnTo>
                    <a:lnTo>
                      <a:pt x="6171" y="0"/>
                    </a:lnTo>
                    <a:lnTo>
                      <a:pt x="7199" y="0"/>
                    </a:lnTo>
                    <a:lnTo>
                      <a:pt x="7714" y="490"/>
                    </a:lnTo>
                    <a:lnTo>
                      <a:pt x="7714" y="981"/>
                    </a:lnTo>
                    <a:lnTo>
                      <a:pt x="8228" y="981"/>
                    </a:lnTo>
                    <a:lnTo>
                      <a:pt x="8742" y="1472"/>
                    </a:lnTo>
                    <a:lnTo>
                      <a:pt x="9771" y="490"/>
                    </a:lnTo>
                    <a:lnTo>
                      <a:pt x="10285" y="490"/>
                    </a:lnTo>
                    <a:lnTo>
                      <a:pt x="10800" y="0"/>
                    </a:lnTo>
                    <a:lnTo>
                      <a:pt x="12857" y="0"/>
                    </a:lnTo>
                    <a:lnTo>
                      <a:pt x="14400" y="490"/>
                    </a:lnTo>
                    <a:lnTo>
                      <a:pt x="15942" y="490"/>
                    </a:lnTo>
                    <a:lnTo>
                      <a:pt x="16457" y="0"/>
                    </a:lnTo>
                    <a:lnTo>
                      <a:pt x="18514" y="0"/>
                    </a:lnTo>
                    <a:lnTo>
                      <a:pt x="19542" y="981"/>
                    </a:lnTo>
                    <a:lnTo>
                      <a:pt x="19542" y="1963"/>
                    </a:lnTo>
                    <a:lnTo>
                      <a:pt x="20057" y="2945"/>
                    </a:lnTo>
                    <a:lnTo>
                      <a:pt x="20571" y="4909"/>
                    </a:lnTo>
                    <a:lnTo>
                      <a:pt x="21085" y="7854"/>
                    </a:lnTo>
                    <a:lnTo>
                      <a:pt x="20571" y="10309"/>
                    </a:lnTo>
                    <a:lnTo>
                      <a:pt x="20571" y="11290"/>
                    </a:lnTo>
                    <a:lnTo>
                      <a:pt x="20057" y="13745"/>
                    </a:lnTo>
                    <a:lnTo>
                      <a:pt x="19542" y="16690"/>
                    </a:lnTo>
                    <a:lnTo>
                      <a:pt x="20057" y="18654"/>
                    </a:lnTo>
                    <a:lnTo>
                      <a:pt x="21600" y="21599"/>
                    </a:lnTo>
                    <a:lnTo>
                      <a:pt x="16971" y="20127"/>
                    </a:lnTo>
                    <a:lnTo>
                      <a:pt x="10800" y="2110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7" name="AutoShape 141"/>
              <p:cNvSpPr>
                <a:spLocks/>
              </p:cNvSpPr>
              <p:nvPr/>
            </p:nvSpPr>
            <p:spPr bwMode="auto">
              <a:xfrm>
                <a:off x="177484" y="346954"/>
                <a:ext cx="82550" cy="3966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172" y="4547"/>
                    </a:moveTo>
                    <a:lnTo>
                      <a:pt x="5837" y="4547"/>
                    </a:lnTo>
                    <a:lnTo>
                      <a:pt x="3502" y="6821"/>
                    </a:lnTo>
                    <a:lnTo>
                      <a:pt x="2335" y="9094"/>
                    </a:lnTo>
                    <a:lnTo>
                      <a:pt x="1167" y="12505"/>
                    </a:lnTo>
                    <a:lnTo>
                      <a:pt x="0" y="21599"/>
                    </a:lnTo>
                    <a:lnTo>
                      <a:pt x="583" y="21599"/>
                    </a:lnTo>
                    <a:lnTo>
                      <a:pt x="1751" y="20463"/>
                    </a:lnTo>
                    <a:lnTo>
                      <a:pt x="2918" y="20463"/>
                    </a:lnTo>
                    <a:lnTo>
                      <a:pt x="4670" y="21599"/>
                    </a:lnTo>
                    <a:lnTo>
                      <a:pt x="6421" y="21599"/>
                    </a:lnTo>
                    <a:lnTo>
                      <a:pt x="8172" y="20463"/>
                    </a:lnTo>
                    <a:lnTo>
                      <a:pt x="10508" y="20463"/>
                    </a:lnTo>
                    <a:lnTo>
                      <a:pt x="10508" y="18189"/>
                    </a:lnTo>
                    <a:lnTo>
                      <a:pt x="11675" y="15915"/>
                    </a:lnTo>
                    <a:lnTo>
                      <a:pt x="11675" y="14778"/>
                    </a:lnTo>
                    <a:lnTo>
                      <a:pt x="12843" y="12505"/>
                    </a:lnTo>
                    <a:lnTo>
                      <a:pt x="13427" y="12505"/>
                    </a:lnTo>
                    <a:lnTo>
                      <a:pt x="14594" y="11368"/>
                    </a:lnTo>
                    <a:lnTo>
                      <a:pt x="18097" y="11368"/>
                    </a:lnTo>
                    <a:lnTo>
                      <a:pt x="18681" y="12505"/>
                    </a:lnTo>
                    <a:lnTo>
                      <a:pt x="21016" y="12505"/>
                    </a:lnTo>
                    <a:lnTo>
                      <a:pt x="21599" y="11368"/>
                    </a:lnTo>
                    <a:lnTo>
                      <a:pt x="21599" y="10231"/>
                    </a:lnTo>
                    <a:lnTo>
                      <a:pt x="21016" y="9094"/>
                    </a:lnTo>
                    <a:lnTo>
                      <a:pt x="20432" y="9094"/>
                    </a:lnTo>
                    <a:lnTo>
                      <a:pt x="19264" y="7957"/>
                    </a:lnTo>
                    <a:lnTo>
                      <a:pt x="18681" y="6821"/>
                    </a:lnTo>
                    <a:lnTo>
                      <a:pt x="17513" y="2273"/>
                    </a:lnTo>
                    <a:lnTo>
                      <a:pt x="17513" y="1136"/>
                    </a:lnTo>
                    <a:lnTo>
                      <a:pt x="16929" y="0"/>
                    </a:lnTo>
                    <a:lnTo>
                      <a:pt x="16345" y="0"/>
                    </a:lnTo>
                    <a:lnTo>
                      <a:pt x="15762" y="1136"/>
                    </a:lnTo>
                    <a:lnTo>
                      <a:pt x="14594" y="1136"/>
                    </a:lnTo>
                    <a:lnTo>
                      <a:pt x="13427" y="2273"/>
                    </a:lnTo>
                    <a:lnTo>
                      <a:pt x="11675" y="3410"/>
                    </a:lnTo>
                    <a:lnTo>
                      <a:pt x="10508" y="4547"/>
                    </a:lnTo>
                    <a:lnTo>
                      <a:pt x="8172" y="454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8" name="AutoShape 142"/>
              <p:cNvSpPr>
                <a:spLocks/>
              </p:cNvSpPr>
              <p:nvPr/>
            </p:nvSpPr>
            <p:spPr bwMode="auto">
              <a:xfrm>
                <a:off x="217171" y="369167"/>
                <a:ext cx="36513" cy="11106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449" y="0"/>
                    </a:moveTo>
                    <a:lnTo>
                      <a:pt x="8100" y="0"/>
                    </a:lnTo>
                    <a:lnTo>
                      <a:pt x="5399" y="407"/>
                    </a:lnTo>
                    <a:lnTo>
                      <a:pt x="2699" y="1222"/>
                    </a:lnTo>
                    <a:lnTo>
                      <a:pt x="2699" y="2037"/>
                    </a:lnTo>
                    <a:lnTo>
                      <a:pt x="1349" y="2445"/>
                    </a:lnTo>
                    <a:lnTo>
                      <a:pt x="0" y="2445"/>
                    </a:lnTo>
                    <a:lnTo>
                      <a:pt x="0" y="2852"/>
                    </a:lnTo>
                    <a:lnTo>
                      <a:pt x="1349" y="3667"/>
                    </a:lnTo>
                    <a:lnTo>
                      <a:pt x="1349" y="4890"/>
                    </a:lnTo>
                    <a:lnTo>
                      <a:pt x="4050" y="6520"/>
                    </a:lnTo>
                    <a:lnTo>
                      <a:pt x="4050" y="8966"/>
                    </a:lnTo>
                    <a:lnTo>
                      <a:pt x="5399" y="10188"/>
                    </a:lnTo>
                    <a:lnTo>
                      <a:pt x="4050" y="11818"/>
                    </a:lnTo>
                    <a:lnTo>
                      <a:pt x="4050" y="12633"/>
                    </a:lnTo>
                    <a:lnTo>
                      <a:pt x="2699" y="13856"/>
                    </a:lnTo>
                    <a:lnTo>
                      <a:pt x="2699" y="15079"/>
                    </a:lnTo>
                    <a:lnTo>
                      <a:pt x="1349" y="16301"/>
                    </a:lnTo>
                    <a:lnTo>
                      <a:pt x="1349" y="17932"/>
                    </a:lnTo>
                    <a:lnTo>
                      <a:pt x="6750" y="21192"/>
                    </a:lnTo>
                    <a:lnTo>
                      <a:pt x="18899" y="21599"/>
                    </a:lnTo>
                    <a:lnTo>
                      <a:pt x="18899" y="20784"/>
                    </a:lnTo>
                    <a:lnTo>
                      <a:pt x="21600" y="15079"/>
                    </a:lnTo>
                    <a:lnTo>
                      <a:pt x="21600" y="10188"/>
                    </a:lnTo>
                    <a:lnTo>
                      <a:pt x="20249" y="8150"/>
                    </a:lnTo>
                    <a:lnTo>
                      <a:pt x="20249" y="7335"/>
                    </a:lnTo>
                    <a:lnTo>
                      <a:pt x="16200" y="1630"/>
                    </a:lnTo>
                    <a:lnTo>
                      <a:pt x="13500" y="407"/>
                    </a:lnTo>
                    <a:lnTo>
                      <a:pt x="944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79" name="AutoShape 143"/>
              <p:cNvSpPr>
                <a:spLocks/>
              </p:cNvSpPr>
              <p:nvPr/>
            </p:nvSpPr>
            <p:spPr bwMode="auto">
              <a:xfrm>
                <a:off x="74296" y="23282"/>
                <a:ext cx="179388" cy="13169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20571"/>
                    </a:moveTo>
                    <a:lnTo>
                      <a:pt x="273" y="20228"/>
                    </a:lnTo>
                    <a:lnTo>
                      <a:pt x="273" y="19885"/>
                    </a:lnTo>
                    <a:lnTo>
                      <a:pt x="1913" y="19199"/>
                    </a:lnTo>
                    <a:lnTo>
                      <a:pt x="3007" y="18171"/>
                    </a:lnTo>
                    <a:lnTo>
                      <a:pt x="5194" y="15428"/>
                    </a:lnTo>
                    <a:lnTo>
                      <a:pt x="6015" y="14057"/>
                    </a:lnTo>
                    <a:lnTo>
                      <a:pt x="6288" y="13714"/>
                    </a:lnTo>
                    <a:lnTo>
                      <a:pt x="6288" y="11657"/>
                    </a:lnTo>
                    <a:lnTo>
                      <a:pt x="6835" y="10285"/>
                    </a:lnTo>
                    <a:lnTo>
                      <a:pt x="7655" y="9257"/>
                    </a:lnTo>
                    <a:lnTo>
                      <a:pt x="8202" y="8228"/>
                    </a:lnTo>
                    <a:lnTo>
                      <a:pt x="8202" y="7542"/>
                    </a:lnTo>
                    <a:lnTo>
                      <a:pt x="8749" y="6857"/>
                    </a:lnTo>
                    <a:lnTo>
                      <a:pt x="9022" y="6171"/>
                    </a:lnTo>
                    <a:lnTo>
                      <a:pt x="10116" y="5485"/>
                    </a:lnTo>
                    <a:lnTo>
                      <a:pt x="10389" y="5142"/>
                    </a:lnTo>
                    <a:lnTo>
                      <a:pt x="10663" y="5142"/>
                    </a:lnTo>
                    <a:lnTo>
                      <a:pt x="10389" y="3428"/>
                    </a:lnTo>
                    <a:lnTo>
                      <a:pt x="10389" y="2399"/>
                    </a:lnTo>
                    <a:lnTo>
                      <a:pt x="10663" y="1371"/>
                    </a:lnTo>
                    <a:lnTo>
                      <a:pt x="10663" y="685"/>
                    </a:lnTo>
                    <a:lnTo>
                      <a:pt x="10936" y="0"/>
                    </a:lnTo>
                    <a:lnTo>
                      <a:pt x="11210" y="0"/>
                    </a:lnTo>
                    <a:lnTo>
                      <a:pt x="11483" y="342"/>
                    </a:lnTo>
                    <a:lnTo>
                      <a:pt x="12577" y="1028"/>
                    </a:lnTo>
                    <a:lnTo>
                      <a:pt x="14217" y="1714"/>
                    </a:lnTo>
                    <a:lnTo>
                      <a:pt x="15584" y="2057"/>
                    </a:lnTo>
                    <a:lnTo>
                      <a:pt x="18865" y="2057"/>
                    </a:lnTo>
                    <a:lnTo>
                      <a:pt x="19412" y="2399"/>
                    </a:lnTo>
                    <a:lnTo>
                      <a:pt x="19959" y="3771"/>
                    </a:lnTo>
                    <a:lnTo>
                      <a:pt x="19959" y="6514"/>
                    </a:lnTo>
                    <a:lnTo>
                      <a:pt x="20506" y="7885"/>
                    </a:lnTo>
                    <a:lnTo>
                      <a:pt x="21599" y="9257"/>
                    </a:lnTo>
                    <a:lnTo>
                      <a:pt x="19412" y="9257"/>
                    </a:lnTo>
                    <a:lnTo>
                      <a:pt x="19139" y="9599"/>
                    </a:lnTo>
                    <a:lnTo>
                      <a:pt x="18592" y="9942"/>
                    </a:lnTo>
                    <a:lnTo>
                      <a:pt x="18592" y="10628"/>
                    </a:lnTo>
                    <a:lnTo>
                      <a:pt x="18318" y="12685"/>
                    </a:lnTo>
                    <a:lnTo>
                      <a:pt x="11210" y="15771"/>
                    </a:lnTo>
                    <a:lnTo>
                      <a:pt x="9296" y="16457"/>
                    </a:lnTo>
                    <a:lnTo>
                      <a:pt x="8202" y="17828"/>
                    </a:lnTo>
                    <a:lnTo>
                      <a:pt x="6562" y="18857"/>
                    </a:lnTo>
                    <a:lnTo>
                      <a:pt x="7108" y="21599"/>
                    </a:lnTo>
                    <a:lnTo>
                      <a:pt x="0" y="2057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0" name="AutoShape 144"/>
              <p:cNvSpPr>
                <a:spLocks/>
              </p:cNvSpPr>
              <p:nvPr/>
            </p:nvSpPr>
            <p:spPr bwMode="auto">
              <a:xfrm>
                <a:off x="366396" y="-517"/>
                <a:ext cx="58738" cy="11741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153" y="2314"/>
                    </a:moveTo>
                    <a:lnTo>
                      <a:pt x="3323" y="2314"/>
                    </a:lnTo>
                    <a:lnTo>
                      <a:pt x="3323" y="2699"/>
                    </a:lnTo>
                    <a:lnTo>
                      <a:pt x="1661" y="4242"/>
                    </a:lnTo>
                    <a:lnTo>
                      <a:pt x="1661" y="6942"/>
                    </a:lnTo>
                    <a:lnTo>
                      <a:pt x="0" y="7714"/>
                    </a:lnTo>
                    <a:lnTo>
                      <a:pt x="0" y="9257"/>
                    </a:lnTo>
                    <a:lnTo>
                      <a:pt x="830" y="9642"/>
                    </a:lnTo>
                    <a:lnTo>
                      <a:pt x="830" y="11185"/>
                    </a:lnTo>
                    <a:lnTo>
                      <a:pt x="1661" y="11957"/>
                    </a:lnTo>
                    <a:lnTo>
                      <a:pt x="2492" y="12342"/>
                    </a:lnTo>
                    <a:lnTo>
                      <a:pt x="3323" y="12342"/>
                    </a:lnTo>
                    <a:lnTo>
                      <a:pt x="4153" y="12728"/>
                    </a:lnTo>
                    <a:lnTo>
                      <a:pt x="4153" y="13114"/>
                    </a:lnTo>
                    <a:lnTo>
                      <a:pt x="4984" y="14657"/>
                    </a:lnTo>
                    <a:lnTo>
                      <a:pt x="5815" y="16971"/>
                    </a:lnTo>
                    <a:lnTo>
                      <a:pt x="7476" y="19671"/>
                    </a:lnTo>
                    <a:lnTo>
                      <a:pt x="9138" y="21600"/>
                    </a:lnTo>
                    <a:lnTo>
                      <a:pt x="9969" y="21600"/>
                    </a:lnTo>
                    <a:lnTo>
                      <a:pt x="10800" y="20828"/>
                    </a:lnTo>
                    <a:lnTo>
                      <a:pt x="12461" y="20442"/>
                    </a:lnTo>
                    <a:lnTo>
                      <a:pt x="14123" y="19671"/>
                    </a:lnTo>
                    <a:lnTo>
                      <a:pt x="14953" y="18899"/>
                    </a:lnTo>
                    <a:lnTo>
                      <a:pt x="16615" y="18514"/>
                    </a:lnTo>
                    <a:lnTo>
                      <a:pt x="16615" y="17742"/>
                    </a:lnTo>
                    <a:lnTo>
                      <a:pt x="15784" y="17357"/>
                    </a:lnTo>
                    <a:lnTo>
                      <a:pt x="15784" y="16200"/>
                    </a:lnTo>
                    <a:lnTo>
                      <a:pt x="17446" y="15814"/>
                    </a:lnTo>
                    <a:lnTo>
                      <a:pt x="18276" y="15814"/>
                    </a:lnTo>
                    <a:lnTo>
                      <a:pt x="19107" y="15428"/>
                    </a:lnTo>
                    <a:lnTo>
                      <a:pt x="19938" y="14657"/>
                    </a:lnTo>
                    <a:lnTo>
                      <a:pt x="19938" y="13885"/>
                    </a:lnTo>
                    <a:lnTo>
                      <a:pt x="19107" y="13114"/>
                    </a:lnTo>
                    <a:lnTo>
                      <a:pt x="19107" y="12342"/>
                    </a:lnTo>
                    <a:lnTo>
                      <a:pt x="18276" y="11957"/>
                    </a:lnTo>
                    <a:lnTo>
                      <a:pt x="18276" y="11571"/>
                    </a:lnTo>
                    <a:lnTo>
                      <a:pt x="17446" y="11571"/>
                    </a:lnTo>
                    <a:lnTo>
                      <a:pt x="17446" y="10414"/>
                    </a:lnTo>
                    <a:lnTo>
                      <a:pt x="18276" y="9642"/>
                    </a:lnTo>
                    <a:lnTo>
                      <a:pt x="19938" y="8871"/>
                    </a:lnTo>
                    <a:lnTo>
                      <a:pt x="20769" y="8871"/>
                    </a:lnTo>
                    <a:lnTo>
                      <a:pt x="20769" y="8099"/>
                    </a:lnTo>
                    <a:lnTo>
                      <a:pt x="19107" y="7328"/>
                    </a:lnTo>
                    <a:lnTo>
                      <a:pt x="19107" y="6942"/>
                    </a:lnTo>
                    <a:lnTo>
                      <a:pt x="18276" y="6171"/>
                    </a:lnTo>
                    <a:lnTo>
                      <a:pt x="18276" y="5399"/>
                    </a:lnTo>
                    <a:lnTo>
                      <a:pt x="19107" y="5014"/>
                    </a:lnTo>
                    <a:lnTo>
                      <a:pt x="19107" y="4628"/>
                    </a:lnTo>
                    <a:lnTo>
                      <a:pt x="20769" y="4242"/>
                    </a:lnTo>
                    <a:lnTo>
                      <a:pt x="21600" y="3857"/>
                    </a:lnTo>
                    <a:lnTo>
                      <a:pt x="19938" y="2314"/>
                    </a:lnTo>
                    <a:lnTo>
                      <a:pt x="13292" y="385"/>
                    </a:lnTo>
                    <a:lnTo>
                      <a:pt x="12461" y="0"/>
                    </a:lnTo>
                    <a:lnTo>
                      <a:pt x="10800" y="0"/>
                    </a:lnTo>
                    <a:lnTo>
                      <a:pt x="7476" y="771"/>
                    </a:lnTo>
                    <a:lnTo>
                      <a:pt x="6646" y="771"/>
                    </a:lnTo>
                    <a:lnTo>
                      <a:pt x="4984" y="1542"/>
                    </a:lnTo>
                    <a:lnTo>
                      <a:pt x="4153" y="231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1" name="AutoShape 145"/>
              <p:cNvSpPr>
                <a:spLocks/>
              </p:cNvSpPr>
              <p:nvPr/>
            </p:nvSpPr>
            <p:spPr bwMode="auto">
              <a:xfrm>
                <a:off x="391796" y="64535"/>
                <a:ext cx="233363" cy="21102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3635"/>
                    </a:moveTo>
                    <a:lnTo>
                      <a:pt x="20970" y="3635"/>
                    </a:lnTo>
                    <a:lnTo>
                      <a:pt x="20132" y="3207"/>
                    </a:lnTo>
                    <a:lnTo>
                      <a:pt x="19502" y="2780"/>
                    </a:lnTo>
                    <a:lnTo>
                      <a:pt x="19083" y="2566"/>
                    </a:lnTo>
                    <a:lnTo>
                      <a:pt x="18454" y="2566"/>
                    </a:lnTo>
                    <a:lnTo>
                      <a:pt x="18244" y="2352"/>
                    </a:lnTo>
                    <a:lnTo>
                      <a:pt x="16986" y="2352"/>
                    </a:lnTo>
                    <a:lnTo>
                      <a:pt x="16147" y="2566"/>
                    </a:lnTo>
                    <a:lnTo>
                      <a:pt x="15518" y="2780"/>
                    </a:lnTo>
                    <a:lnTo>
                      <a:pt x="14889" y="2780"/>
                    </a:lnTo>
                    <a:lnTo>
                      <a:pt x="14469" y="2994"/>
                    </a:lnTo>
                    <a:lnTo>
                      <a:pt x="14469" y="3421"/>
                    </a:lnTo>
                    <a:lnTo>
                      <a:pt x="14260" y="3635"/>
                    </a:lnTo>
                    <a:lnTo>
                      <a:pt x="14469" y="4063"/>
                    </a:lnTo>
                    <a:lnTo>
                      <a:pt x="14469" y="4491"/>
                    </a:lnTo>
                    <a:lnTo>
                      <a:pt x="14679" y="4704"/>
                    </a:lnTo>
                    <a:lnTo>
                      <a:pt x="14679" y="4918"/>
                    </a:lnTo>
                    <a:lnTo>
                      <a:pt x="14469" y="5774"/>
                    </a:lnTo>
                    <a:lnTo>
                      <a:pt x="13840" y="5988"/>
                    </a:lnTo>
                    <a:lnTo>
                      <a:pt x="12792" y="5988"/>
                    </a:lnTo>
                    <a:lnTo>
                      <a:pt x="11114" y="5560"/>
                    </a:lnTo>
                    <a:lnTo>
                      <a:pt x="10485" y="5132"/>
                    </a:lnTo>
                    <a:lnTo>
                      <a:pt x="10066" y="4704"/>
                    </a:lnTo>
                    <a:lnTo>
                      <a:pt x="9436" y="4277"/>
                    </a:lnTo>
                    <a:lnTo>
                      <a:pt x="9227" y="3849"/>
                    </a:lnTo>
                    <a:lnTo>
                      <a:pt x="9017" y="3207"/>
                    </a:lnTo>
                    <a:lnTo>
                      <a:pt x="8388" y="1924"/>
                    </a:lnTo>
                    <a:lnTo>
                      <a:pt x="8178" y="1710"/>
                    </a:lnTo>
                    <a:lnTo>
                      <a:pt x="6081" y="1283"/>
                    </a:lnTo>
                    <a:lnTo>
                      <a:pt x="5871" y="1069"/>
                    </a:lnTo>
                    <a:lnTo>
                      <a:pt x="5452" y="855"/>
                    </a:lnTo>
                    <a:lnTo>
                      <a:pt x="4823" y="641"/>
                    </a:lnTo>
                    <a:lnTo>
                      <a:pt x="4403" y="427"/>
                    </a:lnTo>
                    <a:lnTo>
                      <a:pt x="3984" y="427"/>
                    </a:lnTo>
                    <a:lnTo>
                      <a:pt x="2516" y="0"/>
                    </a:lnTo>
                    <a:lnTo>
                      <a:pt x="2516" y="427"/>
                    </a:lnTo>
                    <a:lnTo>
                      <a:pt x="2726" y="855"/>
                    </a:lnTo>
                    <a:lnTo>
                      <a:pt x="2726" y="1710"/>
                    </a:lnTo>
                    <a:lnTo>
                      <a:pt x="2306" y="2138"/>
                    </a:lnTo>
                    <a:lnTo>
                      <a:pt x="1887" y="2138"/>
                    </a:lnTo>
                    <a:lnTo>
                      <a:pt x="1887" y="2352"/>
                    </a:lnTo>
                    <a:lnTo>
                      <a:pt x="1677" y="2352"/>
                    </a:lnTo>
                    <a:lnTo>
                      <a:pt x="1677" y="2780"/>
                    </a:lnTo>
                    <a:lnTo>
                      <a:pt x="1887" y="3207"/>
                    </a:lnTo>
                    <a:lnTo>
                      <a:pt x="1887" y="3421"/>
                    </a:lnTo>
                    <a:lnTo>
                      <a:pt x="1467" y="3849"/>
                    </a:lnTo>
                    <a:lnTo>
                      <a:pt x="1258" y="4277"/>
                    </a:lnTo>
                    <a:lnTo>
                      <a:pt x="838" y="4491"/>
                    </a:lnTo>
                    <a:lnTo>
                      <a:pt x="629" y="4918"/>
                    </a:lnTo>
                    <a:lnTo>
                      <a:pt x="209" y="5132"/>
                    </a:lnTo>
                    <a:lnTo>
                      <a:pt x="209" y="5346"/>
                    </a:lnTo>
                    <a:lnTo>
                      <a:pt x="0" y="5346"/>
                    </a:lnTo>
                    <a:lnTo>
                      <a:pt x="209" y="5346"/>
                    </a:lnTo>
                    <a:lnTo>
                      <a:pt x="209" y="5988"/>
                    </a:lnTo>
                    <a:lnTo>
                      <a:pt x="419" y="6415"/>
                    </a:lnTo>
                    <a:lnTo>
                      <a:pt x="419" y="7699"/>
                    </a:lnTo>
                    <a:lnTo>
                      <a:pt x="629" y="8126"/>
                    </a:lnTo>
                    <a:lnTo>
                      <a:pt x="629" y="8554"/>
                    </a:lnTo>
                    <a:lnTo>
                      <a:pt x="1048" y="8982"/>
                    </a:lnTo>
                    <a:lnTo>
                      <a:pt x="1258" y="9409"/>
                    </a:lnTo>
                    <a:lnTo>
                      <a:pt x="1258" y="11334"/>
                    </a:lnTo>
                    <a:lnTo>
                      <a:pt x="1048" y="11548"/>
                    </a:lnTo>
                    <a:lnTo>
                      <a:pt x="1467" y="11976"/>
                    </a:lnTo>
                    <a:lnTo>
                      <a:pt x="1467" y="13045"/>
                    </a:lnTo>
                    <a:lnTo>
                      <a:pt x="2935" y="15184"/>
                    </a:lnTo>
                    <a:lnTo>
                      <a:pt x="3774" y="15184"/>
                    </a:lnTo>
                    <a:lnTo>
                      <a:pt x="4403" y="15825"/>
                    </a:lnTo>
                    <a:lnTo>
                      <a:pt x="4613" y="16253"/>
                    </a:lnTo>
                    <a:lnTo>
                      <a:pt x="4823" y="16467"/>
                    </a:lnTo>
                    <a:lnTo>
                      <a:pt x="5033" y="16895"/>
                    </a:lnTo>
                    <a:lnTo>
                      <a:pt x="7968" y="16681"/>
                    </a:lnTo>
                    <a:lnTo>
                      <a:pt x="19293" y="21599"/>
                    </a:lnTo>
                    <a:lnTo>
                      <a:pt x="19293" y="19675"/>
                    </a:lnTo>
                    <a:lnTo>
                      <a:pt x="21600" y="19675"/>
                    </a:lnTo>
                    <a:lnTo>
                      <a:pt x="21600" y="363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2" name="AutoShape 146"/>
              <p:cNvSpPr>
                <a:spLocks/>
              </p:cNvSpPr>
              <p:nvPr/>
            </p:nvSpPr>
            <p:spPr bwMode="auto">
              <a:xfrm>
                <a:off x="428309" y="213678"/>
                <a:ext cx="58737" cy="13803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1630" y="21599"/>
                    </a:moveTo>
                    <a:lnTo>
                      <a:pt x="12461" y="19309"/>
                    </a:lnTo>
                    <a:lnTo>
                      <a:pt x="12461" y="18981"/>
                    </a:lnTo>
                    <a:lnTo>
                      <a:pt x="13292" y="18327"/>
                    </a:lnTo>
                    <a:lnTo>
                      <a:pt x="13292" y="17672"/>
                    </a:lnTo>
                    <a:lnTo>
                      <a:pt x="18276" y="15709"/>
                    </a:lnTo>
                    <a:lnTo>
                      <a:pt x="18276" y="10800"/>
                    </a:lnTo>
                    <a:lnTo>
                      <a:pt x="19107" y="8509"/>
                    </a:lnTo>
                    <a:lnTo>
                      <a:pt x="21600" y="7199"/>
                    </a:lnTo>
                    <a:lnTo>
                      <a:pt x="20769" y="7199"/>
                    </a:lnTo>
                    <a:lnTo>
                      <a:pt x="20769" y="6545"/>
                    </a:lnTo>
                    <a:lnTo>
                      <a:pt x="19938" y="5890"/>
                    </a:lnTo>
                    <a:lnTo>
                      <a:pt x="18276" y="3927"/>
                    </a:lnTo>
                    <a:lnTo>
                      <a:pt x="18276" y="2290"/>
                    </a:lnTo>
                    <a:lnTo>
                      <a:pt x="6646" y="2618"/>
                    </a:lnTo>
                    <a:lnTo>
                      <a:pt x="6646" y="2290"/>
                    </a:lnTo>
                    <a:lnTo>
                      <a:pt x="5815" y="1963"/>
                    </a:lnTo>
                    <a:lnTo>
                      <a:pt x="4984" y="1309"/>
                    </a:lnTo>
                    <a:lnTo>
                      <a:pt x="3323" y="654"/>
                    </a:lnTo>
                    <a:lnTo>
                      <a:pt x="0" y="0"/>
                    </a:lnTo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3" name="AutoShape 147"/>
              <p:cNvSpPr>
                <a:spLocks/>
              </p:cNvSpPr>
              <p:nvPr userDrawn="1"/>
            </p:nvSpPr>
            <p:spPr bwMode="auto">
              <a:xfrm>
                <a:off x="239396" y="213678"/>
                <a:ext cx="247650" cy="16977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6051" y="0"/>
                    </a:moveTo>
                    <a:lnTo>
                      <a:pt x="9313" y="4799"/>
                    </a:lnTo>
                    <a:lnTo>
                      <a:pt x="8917" y="5066"/>
                    </a:lnTo>
                    <a:lnTo>
                      <a:pt x="7728" y="5333"/>
                    </a:lnTo>
                    <a:lnTo>
                      <a:pt x="6737" y="5599"/>
                    </a:lnTo>
                    <a:lnTo>
                      <a:pt x="6143" y="5599"/>
                    </a:lnTo>
                    <a:lnTo>
                      <a:pt x="6143" y="6400"/>
                    </a:lnTo>
                    <a:lnTo>
                      <a:pt x="5944" y="8266"/>
                    </a:lnTo>
                    <a:lnTo>
                      <a:pt x="5548" y="10666"/>
                    </a:lnTo>
                    <a:lnTo>
                      <a:pt x="4954" y="13333"/>
                    </a:lnTo>
                    <a:lnTo>
                      <a:pt x="3765" y="15466"/>
                    </a:lnTo>
                    <a:lnTo>
                      <a:pt x="3566" y="15733"/>
                    </a:lnTo>
                    <a:lnTo>
                      <a:pt x="3170" y="16000"/>
                    </a:lnTo>
                    <a:lnTo>
                      <a:pt x="2774" y="16000"/>
                    </a:lnTo>
                    <a:lnTo>
                      <a:pt x="2377" y="16266"/>
                    </a:lnTo>
                    <a:lnTo>
                      <a:pt x="396" y="16266"/>
                    </a:lnTo>
                    <a:lnTo>
                      <a:pt x="0" y="17066"/>
                    </a:lnTo>
                    <a:lnTo>
                      <a:pt x="198" y="17066"/>
                    </a:lnTo>
                    <a:lnTo>
                      <a:pt x="198" y="17333"/>
                    </a:lnTo>
                    <a:lnTo>
                      <a:pt x="396" y="17600"/>
                    </a:lnTo>
                    <a:lnTo>
                      <a:pt x="594" y="18133"/>
                    </a:lnTo>
                    <a:lnTo>
                      <a:pt x="792" y="18400"/>
                    </a:lnTo>
                    <a:lnTo>
                      <a:pt x="792" y="18666"/>
                    </a:lnTo>
                    <a:lnTo>
                      <a:pt x="990" y="18933"/>
                    </a:lnTo>
                    <a:lnTo>
                      <a:pt x="1387" y="19199"/>
                    </a:lnTo>
                    <a:lnTo>
                      <a:pt x="1585" y="19199"/>
                    </a:lnTo>
                    <a:lnTo>
                      <a:pt x="1585" y="19999"/>
                    </a:lnTo>
                    <a:lnTo>
                      <a:pt x="2576" y="19999"/>
                    </a:lnTo>
                    <a:lnTo>
                      <a:pt x="2774" y="18933"/>
                    </a:lnTo>
                    <a:lnTo>
                      <a:pt x="2774" y="19199"/>
                    </a:lnTo>
                    <a:lnTo>
                      <a:pt x="2972" y="19466"/>
                    </a:lnTo>
                    <a:lnTo>
                      <a:pt x="3368" y="19733"/>
                    </a:lnTo>
                    <a:lnTo>
                      <a:pt x="3765" y="20266"/>
                    </a:lnTo>
                    <a:lnTo>
                      <a:pt x="4161" y="20533"/>
                    </a:lnTo>
                    <a:lnTo>
                      <a:pt x="4954" y="21600"/>
                    </a:lnTo>
                    <a:lnTo>
                      <a:pt x="4954" y="21066"/>
                    </a:lnTo>
                    <a:lnTo>
                      <a:pt x="5350" y="20800"/>
                    </a:lnTo>
                    <a:lnTo>
                      <a:pt x="5548" y="20266"/>
                    </a:lnTo>
                    <a:lnTo>
                      <a:pt x="6143" y="19733"/>
                    </a:lnTo>
                    <a:lnTo>
                      <a:pt x="6737" y="19466"/>
                    </a:lnTo>
                    <a:lnTo>
                      <a:pt x="8719" y="19466"/>
                    </a:lnTo>
                    <a:lnTo>
                      <a:pt x="8719" y="19733"/>
                    </a:lnTo>
                    <a:lnTo>
                      <a:pt x="9115" y="19733"/>
                    </a:lnTo>
                    <a:lnTo>
                      <a:pt x="9511" y="19999"/>
                    </a:lnTo>
                    <a:lnTo>
                      <a:pt x="10106" y="20266"/>
                    </a:lnTo>
                    <a:lnTo>
                      <a:pt x="10502" y="20533"/>
                    </a:lnTo>
                    <a:lnTo>
                      <a:pt x="10700" y="20800"/>
                    </a:lnTo>
                    <a:lnTo>
                      <a:pt x="10899" y="20800"/>
                    </a:lnTo>
                    <a:lnTo>
                      <a:pt x="10899" y="20533"/>
                    </a:lnTo>
                    <a:lnTo>
                      <a:pt x="11295" y="20266"/>
                    </a:lnTo>
                    <a:lnTo>
                      <a:pt x="11691" y="19733"/>
                    </a:lnTo>
                    <a:lnTo>
                      <a:pt x="12088" y="19733"/>
                    </a:lnTo>
                    <a:lnTo>
                      <a:pt x="12484" y="19466"/>
                    </a:lnTo>
                    <a:lnTo>
                      <a:pt x="12880" y="19733"/>
                    </a:lnTo>
                    <a:lnTo>
                      <a:pt x="13277" y="19466"/>
                    </a:lnTo>
                    <a:lnTo>
                      <a:pt x="14267" y="19199"/>
                    </a:lnTo>
                    <a:lnTo>
                      <a:pt x="15258" y="19199"/>
                    </a:lnTo>
                    <a:lnTo>
                      <a:pt x="16447" y="19733"/>
                    </a:lnTo>
                    <a:lnTo>
                      <a:pt x="16645" y="19733"/>
                    </a:lnTo>
                    <a:lnTo>
                      <a:pt x="16844" y="19466"/>
                    </a:lnTo>
                    <a:lnTo>
                      <a:pt x="18033" y="18666"/>
                    </a:lnTo>
                    <a:lnTo>
                      <a:pt x="19023" y="18666"/>
                    </a:lnTo>
                    <a:lnTo>
                      <a:pt x="19420" y="15733"/>
                    </a:lnTo>
                    <a:lnTo>
                      <a:pt x="19420" y="15466"/>
                    </a:lnTo>
                    <a:lnTo>
                      <a:pt x="19618" y="14933"/>
                    </a:lnTo>
                    <a:lnTo>
                      <a:pt x="19618" y="14400"/>
                    </a:lnTo>
                    <a:lnTo>
                      <a:pt x="20807" y="12800"/>
                    </a:lnTo>
                    <a:lnTo>
                      <a:pt x="20807" y="8800"/>
                    </a:lnTo>
                    <a:lnTo>
                      <a:pt x="21005" y="6933"/>
                    </a:lnTo>
                    <a:lnTo>
                      <a:pt x="21600" y="5866"/>
                    </a:lnTo>
                    <a:lnTo>
                      <a:pt x="21401" y="5866"/>
                    </a:lnTo>
                    <a:lnTo>
                      <a:pt x="21401" y="5333"/>
                    </a:lnTo>
                    <a:lnTo>
                      <a:pt x="21203" y="4799"/>
                    </a:lnTo>
                    <a:lnTo>
                      <a:pt x="20807" y="3199"/>
                    </a:lnTo>
                    <a:lnTo>
                      <a:pt x="20807" y="1866"/>
                    </a:lnTo>
                    <a:lnTo>
                      <a:pt x="18033" y="2133"/>
                    </a:lnTo>
                    <a:lnTo>
                      <a:pt x="18033" y="1866"/>
                    </a:lnTo>
                    <a:lnTo>
                      <a:pt x="17834" y="1599"/>
                    </a:lnTo>
                    <a:lnTo>
                      <a:pt x="17636" y="1066"/>
                    </a:lnTo>
                    <a:lnTo>
                      <a:pt x="17240" y="533"/>
                    </a:lnTo>
                    <a:lnTo>
                      <a:pt x="16447" y="0"/>
                    </a:lnTo>
                    <a:lnTo>
                      <a:pt x="16051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4" name="AutoShape 148"/>
              <p:cNvSpPr>
                <a:spLocks/>
              </p:cNvSpPr>
              <p:nvPr/>
            </p:nvSpPr>
            <p:spPr bwMode="auto">
              <a:xfrm>
                <a:off x="456884" y="227958"/>
                <a:ext cx="141287" cy="22212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085" y="0"/>
                    </a:moveTo>
                    <a:lnTo>
                      <a:pt x="21600" y="4686"/>
                    </a:lnTo>
                    <a:lnTo>
                      <a:pt x="21257" y="9169"/>
                    </a:lnTo>
                    <a:lnTo>
                      <a:pt x="20914" y="9169"/>
                    </a:lnTo>
                    <a:lnTo>
                      <a:pt x="20571" y="8966"/>
                    </a:lnTo>
                    <a:lnTo>
                      <a:pt x="19885" y="8966"/>
                    </a:lnTo>
                    <a:lnTo>
                      <a:pt x="19199" y="9169"/>
                    </a:lnTo>
                    <a:lnTo>
                      <a:pt x="18857" y="9169"/>
                    </a:lnTo>
                    <a:lnTo>
                      <a:pt x="18514" y="9373"/>
                    </a:lnTo>
                    <a:lnTo>
                      <a:pt x="18171" y="9781"/>
                    </a:lnTo>
                    <a:lnTo>
                      <a:pt x="18171" y="10596"/>
                    </a:lnTo>
                    <a:lnTo>
                      <a:pt x="17828" y="11003"/>
                    </a:lnTo>
                    <a:lnTo>
                      <a:pt x="17485" y="11207"/>
                    </a:lnTo>
                    <a:lnTo>
                      <a:pt x="17142" y="11207"/>
                    </a:lnTo>
                    <a:lnTo>
                      <a:pt x="16799" y="11615"/>
                    </a:lnTo>
                    <a:lnTo>
                      <a:pt x="16457" y="11818"/>
                    </a:lnTo>
                    <a:lnTo>
                      <a:pt x="16799" y="12226"/>
                    </a:lnTo>
                    <a:lnTo>
                      <a:pt x="16799" y="12633"/>
                    </a:lnTo>
                    <a:lnTo>
                      <a:pt x="17485" y="13041"/>
                    </a:lnTo>
                    <a:lnTo>
                      <a:pt x="17828" y="13449"/>
                    </a:lnTo>
                    <a:lnTo>
                      <a:pt x="17828" y="13652"/>
                    </a:lnTo>
                    <a:lnTo>
                      <a:pt x="17485" y="14060"/>
                    </a:lnTo>
                    <a:lnTo>
                      <a:pt x="17485" y="15690"/>
                    </a:lnTo>
                    <a:lnTo>
                      <a:pt x="17828" y="16098"/>
                    </a:lnTo>
                    <a:lnTo>
                      <a:pt x="17828" y="16505"/>
                    </a:lnTo>
                    <a:lnTo>
                      <a:pt x="18171" y="17116"/>
                    </a:lnTo>
                    <a:lnTo>
                      <a:pt x="18514" y="17524"/>
                    </a:lnTo>
                    <a:lnTo>
                      <a:pt x="18514" y="17932"/>
                    </a:lnTo>
                    <a:lnTo>
                      <a:pt x="17828" y="18135"/>
                    </a:lnTo>
                    <a:lnTo>
                      <a:pt x="17142" y="18135"/>
                    </a:lnTo>
                    <a:lnTo>
                      <a:pt x="15771" y="18543"/>
                    </a:lnTo>
                    <a:lnTo>
                      <a:pt x="15085" y="18950"/>
                    </a:lnTo>
                    <a:lnTo>
                      <a:pt x="14742" y="19358"/>
                    </a:lnTo>
                    <a:lnTo>
                      <a:pt x="14742" y="19766"/>
                    </a:lnTo>
                    <a:lnTo>
                      <a:pt x="14400" y="20173"/>
                    </a:lnTo>
                    <a:lnTo>
                      <a:pt x="14057" y="20377"/>
                    </a:lnTo>
                    <a:lnTo>
                      <a:pt x="12685" y="20784"/>
                    </a:lnTo>
                    <a:lnTo>
                      <a:pt x="11657" y="20784"/>
                    </a:lnTo>
                    <a:lnTo>
                      <a:pt x="11657" y="20581"/>
                    </a:lnTo>
                    <a:lnTo>
                      <a:pt x="10971" y="20581"/>
                    </a:lnTo>
                    <a:lnTo>
                      <a:pt x="10285" y="20377"/>
                    </a:lnTo>
                    <a:lnTo>
                      <a:pt x="9942" y="20581"/>
                    </a:lnTo>
                    <a:lnTo>
                      <a:pt x="9942" y="20784"/>
                    </a:lnTo>
                    <a:lnTo>
                      <a:pt x="9599" y="20784"/>
                    </a:lnTo>
                    <a:lnTo>
                      <a:pt x="7885" y="21192"/>
                    </a:lnTo>
                    <a:lnTo>
                      <a:pt x="5485" y="21396"/>
                    </a:lnTo>
                    <a:lnTo>
                      <a:pt x="2057" y="21599"/>
                    </a:lnTo>
                    <a:lnTo>
                      <a:pt x="2057" y="21396"/>
                    </a:lnTo>
                    <a:lnTo>
                      <a:pt x="1714" y="20988"/>
                    </a:lnTo>
                    <a:lnTo>
                      <a:pt x="1714" y="20784"/>
                    </a:lnTo>
                    <a:lnTo>
                      <a:pt x="1028" y="20581"/>
                    </a:lnTo>
                    <a:lnTo>
                      <a:pt x="1028" y="20377"/>
                    </a:lnTo>
                    <a:lnTo>
                      <a:pt x="685" y="20173"/>
                    </a:lnTo>
                    <a:lnTo>
                      <a:pt x="342" y="19766"/>
                    </a:lnTo>
                    <a:lnTo>
                      <a:pt x="342" y="18747"/>
                    </a:lnTo>
                    <a:lnTo>
                      <a:pt x="685" y="18747"/>
                    </a:lnTo>
                    <a:lnTo>
                      <a:pt x="1028" y="18950"/>
                    </a:lnTo>
                    <a:lnTo>
                      <a:pt x="1371" y="18747"/>
                    </a:lnTo>
                    <a:lnTo>
                      <a:pt x="2057" y="18747"/>
                    </a:lnTo>
                    <a:lnTo>
                      <a:pt x="2399" y="18543"/>
                    </a:lnTo>
                    <a:lnTo>
                      <a:pt x="3085" y="18339"/>
                    </a:lnTo>
                    <a:lnTo>
                      <a:pt x="3085" y="17524"/>
                    </a:lnTo>
                    <a:lnTo>
                      <a:pt x="2742" y="17116"/>
                    </a:lnTo>
                    <a:lnTo>
                      <a:pt x="2057" y="15894"/>
                    </a:lnTo>
                    <a:lnTo>
                      <a:pt x="2057" y="14875"/>
                    </a:lnTo>
                    <a:lnTo>
                      <a:pt x="2399" y="14671"/>
                    </a:lnTo>
                    <a:lnTo>
                      <a:pt x="2057" y="14264"/>
                    </a:lnTo>
                    <a:lnTo>
                      <a:pt x="2057" y="13856"/>
                    </a:lnTo>
                    <a:lnTo>
                      <a:pt x="1714" y="13449"/>
                    </a:lnTo>
                    <a:lnTo>
                      <a:pt x="1714" y="13245"/>
                    </a:lnTo>
                    <a:lnTo>
                      <a:pt x="1371" y="13245"/>
                    </a:lnTo>
                    <a:lnTo>
                      <a:pt x="685" y="12837"/>
                    </a:lnTo>
                    <a:lnTo>
                      <a:pt x="0" y="13041"/>
                    </a:lnTo>
                    <a:lnTo>
                      <a:pt x="0" y="12633"/>
                    </a:lnTo>
                    <a:lnTo>
                      <a:pt x="342" y="12226"/>
                    </a:lnTo>
                    <a:lnTo>
                      <a:pt x="685" y="11615"/>
                    </a:lnTo>
                    <a:lnTo>
                      <a:pt x="1028" y="10596"/>
                    </a:lnTo>
                    <a:lnTo>
                      <a:pt x="685" y="10596"/>
                    </a:lnTo>
                    <a:lnTo>
                      <a:pt x="685" y="10188"/>
                    </a:lnTo>
                    <a:lnTo>
                      <a:pt x="1371" y="9373"/>
                    </a:lnTo>
                    <a:lnTo>
                      <a:pt x="3085" y="8354"/>
                    </a:lnTo>
                    <a:lnTo>
                      <a:pt x="3085" y="5094"/>
                    </a:lnTo>
                    <a:lnTo>
                      <a:pt x="3428" y="3871"/>
                    </a:lnTo>
                    <a:lnTo>
                      <a:pt x="4457" y="3056"/>
                    </a:lnTo>
                    <a:lnTo>
                      <a:pt x="4114" y="3056"/>
                    </a:lnTo>
                    <a:lnTo>
                      <a:pt x="4114" y="2649"/>
                    </a:lnTo>
                    <a:lnTo>
                      <a:pt x="3771" y="2241"/>
                    </a:lnTo>
                    <a:lnTo>
                      <a:pt x="3428" y="1630"/>
                    </a:lnTo>
                    <a:lnTo>
                      <a:pt x="3085" y="1222"/>
                    </a:lnTo>
                    <a:lnTo>
                      <a:pt x="3085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5" name="AutoShape 149"/>
              <p:cNvSpPr>
                <a:spLocks/>
              </p:cNvSpPr>
              <p:nvPr/>
            </p:nvSpPr>
            <p:spPr bwMode="auto">
              <a:xfrm>
                <a:off x="566422" y="234304"/>
                <a:ext cx="247650" cy="26179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8627" y="0"/>
                    </a:moveTo>
                    <a:lnTo>
                      <a:pt x="18627" y="172"/>
                    </a:lnTo>
                    <a:lnTo>
                      <a:pt x="18429" y="345"/>
                    </a:lnTo>
                    <a:lnTo>
                      <a:pt x="18231" y="691"/>
                    </a:lnTo>
                    <a:lnTo>
                      <a:pt x="17834" y="1036"/>
                    </a:lnTo>
                    <a:lnTo>
                      <a:pt x="16645" y="1728"/>
                    </a:lnTo>
                    <a:lnTo>
                      <a:pt x="15853" y="1900"/>
                    </a:lnTo>
                    <a:lnTo>
                      <a:pt x="2774" y="1900"/>
                    </a:lnTo>
                    <a:lnTo>
                      <a:pt x="2774" y="7084"/>
                    </a:lnTo>
                    <a:lnTo>
                      <a:pt x="1783" y="7084"/>
                    </a:lnTo>
                    <a:lnTo>
                      <a:pt x="990" y="7430"/>
                    </a:lnTo>
                    <a:lnTo>
                      <a:pt x="990" y="7776"/>
                    </a:lnTo>
                    <a:lnTo>
                      <a:pt x="792" y="8121"/>
                    </a:lnTo>
                    <a:lnTo>
                      <a:pt x="792" y="8467"/>
                    </a:lnTo>
                    <a:lnTo>
                      <a:pt x="594" y="8639"/>
                    </a:lnTo>
                    <a:lnTo>
                      <a:pt x="594" y="8812"/>
                    </a:lnTo>
                    <a:lnTo>
                      <a:pt x="0" y="9331"/>
                    </a:lnTo>
                    <a:lnTo>
                      <a:pt x="0" y="9849"/>
                    </a:lnTo>
                    <a:lnTo>
                      <a:pt x="396" y="10540"/>
                    </a:lnTo>
                    <a:lnTo>
                      <a:pt x="594" y="10713"/>
                    </a:lnTo>
                    <a:lnTo>
                      <a:pt x="594" y="11750"/>
                    </a:lnTo>
                    <a:lnTo>
                      <a:pt x="396" y="12095"/>
                    </a:lnTo>
                    <a:lnTo>
                      <a:pt x="396" y="12614"/>
                    </a:lnTo>
                    <a:lnTo>
                      <a:pt x="1188" y="14687"/>
                    </a:lnTo>
                    <a:lnTo>
                      <a:pt x="1585" y="15379"/>
                    </a:lnTo>
                    <a:lnTo>
                      <a:pt x="2377" y="16070"/>
                    </a:lnTo>
                    <a:lnTo>
                      <a:pt x="2576" y="16415"/>
                    </a:lnTo>
                    <a:lnTo>
                      <a:pt x="3170" y="16934"/>
                    </a:lnTo>
                    <a:lnTo>
                      <a:pt x="3765" y="17625"/>
                    </a:lnTo>
                    <a:lnTo>
                      <a:pt x="4359" y="18489"/>
                    </a:lnTo>
                    <a:lnTo>
                      <a:pt x="4954" y="19180"/>
                    </a:lnTo>
                    <a:lnTo>
                      <a:pt x="5350" y="19699"/>
                    </a:lnTo>
                    <a:lnTo>
                      <a:pt x="5350" y="19871"/>
                    </a:lnTo>
                    <a:lnTo>
                      <a:pt x="5548" y="19871"/>
                    </a:lnTo>
                    <a:lnTo>
                      <a:pt x="6143" y="20390"/>
                    </a:lnTo>
                    <a:lnTo>
                      <a:pt x="6539" y="20563"/>
                    </a:lnTo>
                    <a:lnTo>
                      <a:pt x="7133" y="20735"/>
                    </a:lnTo>
                    <a:lnTo>
                      <a:pt x="7728" y="20735"/>
                    </a:lnTo>
                    <a:lnTo>
                      <a:pt x="7926" y="20908"/>
                    </a:lnTo>
                    <a:lnTo>
                      <a:pt x="8322" y="21081"/>
                    </a:lnTo>
                    <a:lnTo>
                      <a:pt x="8719" y="21599"/>
                    </a:lnTo>
                    <a:lnTo>
                      <a:pt x="13673" y="21599"/>
                    </a:lnTo>
                    <a:lnTo>
                      <a:pt x="15060" y="21427"/>
                    </a:lnTo>
                    <a:lnTo>
                      <a:pt x="16645" y="21254"/>
                    </a:lnTo>
                    <a:lnTo>
                      <a:pt x="17834" y="21081"/>
                    </a:lnTo>
                    <a:lnTo>
                      <a:pt x="18231" y="20735"/>
                    </a:lnTo>
                    <a:lnTo>
                      <a:pt x="18033" y="19180"/>
                    </a:lnTo>
                    <a:lnTo>
                      <a:pt x="17834" y="19180"/>
                    </a:lnTo>
                    <a:lnTo>
                      <a:pt x="17438" y="18489"/>
                    </a:lnTo>
                    <a:lnTo>
                      <a:pt x="17042" y="18143"/>
                    </a:lnTo>
                    <a:lnTo>
                      <a:pt x="16645" y="17625"/>
                    </a:lnTo>
                    <a:lnTo>
                      <a:pt x="15655" y="16761"/>
                    </a:lnTo>
                    <a:lnTo>
                      <a:pt x="15456" y="16761"/>
                    </a:lnTo>
                    <a:lnTo>
                      <a:pt x="15060" y="16415"/>
                    </a:lnTo>
                    <a:lnTo>
                      <a:pt x="15060" y="15897"/>
                    </a:lnTo>
                    <a:lnTo>
                      <a:pt x="15456" y="15724"/>
                    </a:lnTo>
                    <a:lnTo>
                      <a:pt x="15456" y="13651"/>
                    </a:lnTo>
                    <a:lnTo>
                      <a:pt x="15853" y="12959"/>
                    </a:lnTo>
                    <a:lnTo>
                      <a:pt x="16249" y="12441"/>
                    </a:lnTo>
                    <a:lnTo>
                      <a:pt x="16645" y="11750"/>
                    </a:lnTo>
                    <a:lnTo>
                      <a:pt x="17438" y="11232"/>
                    </a:lnTo>
                    <a:lnTo>
                      <a:pt x="17636" y="11059"/>
                    </a:lnTo>
                    <a:lnTo>
                      <a:pt x="18033" y="10195"/>
                    </a:lnTo>
                    <a:lnTo>
                      <a:pt x="18627" y="9331"/>
                    </a:lnTo>
                    <a:lnTo>
                      <a:pt x="18627" y="8467"/>
                    </a:lnTo>
                    <a:lnTo>
                      <a:pt x="19023" y="8121"/>
                    </a:lnTo>
                    <a:lnTo>
                      <a:pt x="19222" y="7776"/>
                    </a:lnTo>
                    <a:lnTo>
                      <a:pt x="19618" y="7430"/>
                    </a:lnTo>
                    <a:lnTo>
                      <a:pt x="19816" y="7084"/>
                    </a:lnTo>
                    <a:lnTo>
                      <a:pt x="20212" y="6911"/>
                    </a:lnTo>
                    <a:lnTo>
                      <a:pt x="20411" y="6739"/>
                    </a:lnTo>
                    <a:lnTo>
                      <a:pt x="20609" y="6739"/>
                    </a:lnTo>
                    <a:lnTo>
                      <a:pt x="21005" y="6566"/>
                    </a:lnTo>
                    <a:lnTo>
                      <a:pt x="21203" y="6220"/>
                    </a:lnTo>
                    <a:lnTo>
                      <a:pt x="21600" y="5875"/>
                    </a:lnTo>
                    <a:lnTo>
                      <a:pt x="21600" y="5702"/>
                    </a:lnTo>
                    <a:lnTo>
                      <a:pt x="21401" y="5529"/>
                    </a:lnTo>
                    <a:lnTo>
                      <a:pt x="21203" y="5184"/>
                    </a:lnTo>
                    <a:lnTo>
                      <a:pt x="21005" y="4665"/>
                    </a:lnTo>
                    <a:lnTo>
                      <a:pt x="20807" y="4320"/>
                    </a:lnTo>
                    <a:lnTo>
                      <a:pt x="20411" y="3801"/>
                    </a:lnTo>
                    <a:lnTo>
                      <a:pt x="20212" y="3456"/>
                    </a:lnTo>
                    <a:lnTo>
                      <a:pt x="20212" y="3283"/>
                    </a:lnTo>
                    <a:lnTo>
                      <a:pt x="20014" y="2937"/>
                    </a:lnTo>
                    <a:lnTo>
                      <a:pt x="19816" y="2764"/>
                    </a:lnTo>
                    <a:lnTo>
                      <a:pt x="19816" y="1900"/>
                    </a:lnTo>
                    <a:lnTo>
                      <a:pt x="19618" y="1555"/>
                    </a:lnTo>
                    <a:lnTo>
                      <a:pt x="19420" y="1036"/>
                    </a:lnTo>
                    <a:lnTo>
                      <a:pt x="19023" y="691"/>
                    </a:lnTo>
                    <a:lnTo>
                      <a:pt x="18627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6" name="AutoShape 150"/>
              <p:cNvSpPr>
                <a:spLocks/>
              </p:cNvSpPr>
              <p:nvPr/>
            </p:nvSpPr>
            <p:spPr bwMode="auto">
              <a:xfrm>
                <a:off x="407671" y="489751"/>
                <a:ext cx="98425" cy="12851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454" y="21245"/>
                    </a:moveTo>
                    <a:lnTo>
                      <a:pt x="2945" y="21599"/>
                    </a:lnTo>
                    <a:lnTo>
                      <a:pt x="2454" y="21245"/>
                    </a:lnTo>
                    <a:lnTo>
                      <a:pt x="0" y="19121"/>
                    </a:lnTo>
                    <a:lnTo>
                      <a:pt x="0" y="18413"/>
                    </a:lnTo>
                    <a:lnTo>
                      <a:pt x="1472" y="17350"/>
                    </a:lnTo>
                    <a:lnTo>
                      <a:pt x="1472" y="16996"/>
                    </a:lnTo>
                    <a:lnTo>
                      <a:pt x="1963" y="16996"/>
                    </a:lnTo>
                    <a:lnTo>
                      <a:pt x="2454" y="16288"/>
                    </a:lnTo>
                    <a:lnTo>
                      <a:pt x="3436" y="16288"/>
                    </a:lnTo>
                    <a:lnTo>
                      <a:pt x="4418" y="15934"/>
                    </a:lnTo>
                    <a:lnTo>
                      <a:pt x="4909" y="14872"/>
                    </a:lnTo>
                    <a:lnTo>
                      <a:pt x="5400" y="15934"/>
                    </a:lnTo>
                    <a:lnTo>
                      <a:pt x="6872" y="15934"/>
                    </a:lnTo>
                    <a:lnTo>
                      <a:pt x="7854" y="15580"/>
                    </a:lnTo>
                    <a:lnTo>
                      <a:pt x="10800" y="14872"/>
                    </a:lnTo>
                    <a:lnTo>
                      <a:pt x="11290" y="14518"/>
                    </a:lnTo>
                    <a:lnTo>
                      <a:pt x="11781" y="14518"/>
                    </a:lnTo>
                    <a:lnTo>
                      <a:pt x="11781" y="13809"/>
                    </a:lnTo>
                    <a:lnTo>
                      <a:pt x="12272" y="13101"/>
                    </a:lnTo>
                    <a:lnTo>
                      <a:pt x="12272" y="10268"/>
                    </a:lnTo>
                    <a:lnTo>
                      <a:pt x="10800" y="10268"/>
                    </a:lnTo>
                    <a:lnTo>
                      <a:pt x="10800" y="8498"/>
                    </a:lnTo>
                    <a:lnTo>
                      <a:pt x="11781" y="8498"/>
                    </a:lnTo>
                    <a:lnTo>
                      <a:pt x="11781" y="7436"/>
                    </a:lnTo>
                    <a:lnTo>
                      <a:pt x="12272" y="7081"/>
                    </a:lnTo>
                    <a:lnTo>
                      <a:pt x="12272" y="6373"/>
                    </a:lnTo>
                    <a:lnTo>
                      <a:pt x="11781" y="6019"/>
                    </a:lnTo>
                    <a:lnTo>
                      <a:pt x="7363" y="5665"/>
                    </a:lnTo>
                    <a:lnTo>
                      <a:pt x="6872" y="4957"/>
                    </a:lnTo>
                    <a:lnTo>
                      <a:pt x="6872" y="3895"/>
                    </a:lnTo>
                    <a:lnTo>
                      <a:pt x="10309" y="3895"/>
                    </a:lnTo>
                    <a:lnTo>
                      <a:pt x="13745" y="3540"/>
                    </a:lnTo>
                    <a:lnTo>
                      <a:pt x="16200" y="3540"/>
                    </a:lnTo>
                    <a:lnTo>
                      <a:pt x="17672" y="3895"/>
                    </a:lnTo>
                    <a:lnTo>
                      <a:pt x="17672" y="3186"/>
                    </a:lnTo>
                    <a:lnTo>
                      <a:pt x="17181" y="2832"/>
                    </a:lnTo>
                    <a:lnTo>
                      <a:pt x="18163" y="1416"/>
                    </a:lnTo>
                    <a:lnTo>
                      <a:pt x="19145" y="1062"/>
                    </a:lnTo>
                    <a:lnTo>
                      <a:pt x="19636" y="1062"/>
                    </a:lnTo>
                    <a:lnTo>
                      <a:pt x="21109" y="0"/>
                    </a:lnTo>
                    <a:lnTo>
                      <a:pt x="21599" y="0"/>
                    </a:lnTo>
                    <a:lnTo>
                      <a:pt x="21599" y="3186"/>
                    </a:lnTo>
                    <a:lnTo>
                      <a:pt x="21109" y="4249"/>
                    </a:lnTo>
                    <a:lnTo>
                      <a:pt x="21109" y="8498"/>
                    </a:lnTo>
                    <a:lnTo>
                      <a:pt x="20618" y="9560"/>
                    </a:lnTo>
                    <a:lnTo>
                      <a:pt x="20618" y="10622"/>
                    </a:lnTo>
                    <a:lnTo>
                      <a:pt x="20127" y="11685"/>
                    </a:lnTo>
                    <a:lnTo>
                      <a:pt x="19636" y="12039"/>
                    </a:lnTo>
                    <a:lnTo>
                      <a:pt x="19636" y="12393"/>
                    </a:lnTo>
                    <a:lnTo>
                      <a:pt x="19145" y="12747"/>
                    </a:lnTo>
                    <a:lnTo>
                      <a:pt x="18654" y="13809"/>
                    </a:lnTo>
                    <a:lnTo>
                      <a:pt x="18163" y="14518"/>
                    </a:lnTo>
                    <a:lnTo>
                      <a:pt x="17672" y="15580"/>
                    </a:lnTo>
                    <a:lnTo>
                      <a:pt x="16690" y="16996"/>
                    </a:lnTo>
                    <a:lnTo>
                      <a:pt x="16200" y="17350"/>
                    </a:lnTo>
                    <a:lnTo>
                      <a:pt x="16200" y="17704"/>
                    </a:lnTo>
                    <a:lnTo>
                      <a:pt x="15709" y="18059"/>
                    </a:lnTo>
                    <a:lnTo>
                      <a:pt x="14727" y="19475"/>
                    </a:lnTo>
                    <a:lnTo>
                      <a:pt x="13745" y="19829"/>
                    </a:lnTo>
                    <a:lnTo>
                      <a:pt x="12272" y="19829"/>
                    </a:lnTo>
                    <a:lnTo>
                      <a:pt x="11290" y="19475"/>
                    </a:lnTo>
                    <a:lnTo>
                      <a:pt x="10800" y="19829"/>
                    </a:lnTo>
                    <a:lnTo>
                      <a:pt x="10309" y="19829"/>
                    </a:lnTo>
                    <a:lnTo>
                      <a:pt x="9327" y="20537"/>
                    </a:lnTo>
                    <a:lnTo>
                      <a:pt x="8345" y="20183"/>
                    </a:lnTo>
                    <a:lnTo>
                      <a:pt x="8345" y="19829"/>
                    </a:lnTo>
                    <a:lnTo>
                      <a:pt x="6872" y="19829"/>
                    </a:lnTo>
                    <a:lnTo>
                      <a:pt x="5890" y="20183"/>
                    </a:lnTo>
                    <a:lnTo>
                      <a:pt x="4418" y="20537"/>
                    </a:lnTo>
                    <a:lnTo>
                      <a:pt x="2454" y="2124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7" name="AutoShape 151"/>
              <p:cNvSpPr>
                <a:spLocks/>
              </p:cNvSpPr>
              <p:nvPr/>
            </p:nvSpPr>
            <p:spPr bwMode="auto">
              <a:xfrm>
                <a:off x="418784" y="637308"/>
                <a:ext cx="146050" cy="16342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96" y="553"/>
                    </a:moveTo>
                    <a:lnTo>
                      <a:pt x="3987" y="276"/>
                    </a:lnTo>
                    <a:lnTo>
                      <a:pt x="5316" y="0"/>
                    </a:lnTo>
                    <a:lnTo>
                      <a:pt x="9304" y="0"/>
                    </a:lnTo>
                    <a:lnTo>
                      <a:pt x="10633" y="3323"/>
                    </a:lnTo>
                    <a:lnTo>
                      <a:pt x="14289" y="3600"/>
                    </a:lnTo>
                    <a:lnTo>
                      <a:pt x="14289" y="2492"/>
                    </a:lnTo>
                    <a:lnTo>
                      <a:pt x="14621" y="1938"/>
                    </a:lnTo>
                    <a:lnTo>
                      <a:pt x="16947" y="1661"/>
                    </a:lnTo>
                    <a:lnTo>
                      <a:pt x="16947" y="2492"/>
                    </a:lnTo>
                    <a:lnTo>
                      <a:pt x="18609" y="2492"/>
                    </a:lnTo>
                    <a:lnTo>
                      <a:pt x="18609" y="4707"/>
                    </a:lnTo>
                    <a:lnTo>
                      <a:pt x="19273" y="5815"/>
                    </a:lnTo>
                    <a:lnTo>
                      <a:pt x="19273" y="7199"/>
                    </a:lnTo>
                    <a:lnTo>
                      <a:pt x="18941" y="7753"/>
                    </a:lnTo>
                    <a:lnTo>
                      <a:pt x="18941" y="8307"/>
                    </a:lnTo>
                    <a:lnTo>
                      <a:pt x="21267" y="8584"/>
                    </a:lnTo>
                    <a:lnTo>
                      <a:pt x="21267" y="12184"/>
                    </a:lnTo>
                    <a:lnTo>
                      <a:pt x="18609" y="12461"/>
                    </a:lnTo>
                    <a:lnTo>
                      <a:pt x="18609" y="18830"/>
                    </a:lnTo>
                    <a:lnTo>
                      <a:pt x="19273" y="19384"/>
                    </a:lnTo>
                    <a:lnTo>
                      <a:pt x="19606" y="19938"/>
                    </a:lnTo>
                    <a:lnTo>
                      <a:pt x="21599" y="21046"/>
                    </a:lnTo>
                    <a:lnTo>
                      <a:pt x="20270" y="21046"/>
                    </a:lnTo>
                    <a:lnTo>
                      <a:pt x="19273" y="21323"/>
                    </a:lnTo>
                    <a:lnTo>
                      <a:pt x="18276" y="21323"/>
                    </a:lnTo>
                    <a:lnTo>
                      <a:pt x="17612" y="21599"/>
                    </a:lnTo>
                    <a:lnTo>
                      <a:pt x="15286" y="21599"/>
                    </a:lnTo>
                    <a:lnTo>
                      <a:pt x="14621" y="21323"/>
                    </a:lnTo>
                    <a:lnTo>
                      <a:pt x="13624" y="21323"/>
                    </a:lnTo>
                    <a:lnTo>
                      <a:pt x="12959" y="21046"/>
                    </a:lnTo>
                    <a:lnTo>
                      <a:pt x="12627" y="20769"/>
                    </a:lnTo>
                    <a:lnTo>
                      <a:pt x="3987" y="20769"/>
                    </a:lnTo>
                    <a:lnTo>
                      <a:pt x="3655" y="20492"/>
                    </a:lnTo>
                    <a:lnTo>
                      <a:pt x="3323" y="19938"/>
                    </a:lnTo>
                    <a:lnTo>
                      <a:pt x="2990" y="19938"/>
                    </a:lnTo>
                    <a:lnTo>
                      <a:pt x="2658" y="19661"/>
                    </a:lnTo>
                    <a:lnTo>
                      <a:pt x="996" y="19661"/>
                    </a:lnTo>
                    <a:lnTo>
                      <a:pt x="0" y="19938"/>
                    </a:lnTo>
                    <a:lnTo>
                      <a:pt x="332" y="19384"/>
                    </a:lnTo>
                    <a:lnTo>
                      <a:pt x="664" y="17999"/>
                    </a:lnTo>
                    <a:lnTo>
                      <a:pt x="996" y="16338"/>
                    </a:lnTo>
                    <a:lnTo>
                      <a:pt x="1661" y="14953"/>
                    </a:lnTo>
                    <a:lnTo>
                      <a:pt x="1661" y="13569"/>
                    </a:lnTo>
                    <a:lnTo>
                      <a:pt x="2326" y="12461"/>
                    </a:lnTo>
                    <a:lnTo>
                      <a:pt x="2658" y="11353"/>
                    </a:lnTo>
                    <a:lnTo>
                      <a:pt x="3323" y="10523"/>
                    </a:lnTo>
                    <a:lnTo>
                      <a:pt x="3987" y="9415"/>
                    </a:lnTo>
                    <a:lnTo>
                      <a:pt x="4319" y="9415"/>
                    </a:lnTo>
                    <a:lnTo>
                      <a:pt x="4652" y="9138"/>
                    </a:lnTo>
                    <a:lnTo>
                      <a:pt x="4652" y="7476"/>
                    </a:lnTo>
                    <a:lnTo>
                      <a:pt x="3987" y="5261"/>
                    </a:lnTo>
                    <a:lnTo>
                      <a:pt x="2326" y="2215"/>
                    </a:lnTo>
                    <a:lnTo>
                      <a:pt x="996" y="1384"/>
                    </a:lnTo>
                    <a:lnTo>
                      <a:pt x="996" y="553"/>
                    </a:lnTo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8" name="AutoShape 152"/>
              <p:cNvSpPr>
                <a:spLocks/>
              </p:cNvSpPr>
              <p:nvPr/>
            </p:nvSpPr>
            <p:spPr bwMode="auto">
              <a:xfrm>
                <a:off x="423546" y="470711"/>
                <a:ext cx="285750" cy="27131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12725"/>
                    </a:moveTo>
                    <a:lnTo>
                      <a:pt x="2040" y="11218"/>
                    </a:lnTo>
                    <a:lnTo>
                      <a:pt x="2040" y="11051"/>
                    </a:lnTo>
                    <a:lnTo>
                      <a:pt x="2211" y="11051"/>
                    </a:lnTo>
                    <a:lnTo>
                      <a:pt x="2381" y="10883"/>
                    </a:lnTo>
                    <a:lnTo>
                      <a:pt x="2721" y="10716"/>
                    </a:lnTo>
                    <a:lnTo>
                      <a:pt x="3231" y="10883"/>
                    </a:lnTo>
                    <a:lnTo>
                      <a:pt x="3741" y="10883"/>
                    </a:lnTo>
                    <a:lnTo>
                      <a:pt x="3911" y="10716"/>
                    </a:lnTo>
                    <a:lnTo>
                      <a:pt x="4081" y="10381"/>
                    </a:lnTo>
                    <a:lnTo>
                      <a:pt x="4251" y="10381"/>
                    </a:lnTo>
                    <a:lnTo>
                      <a:pt x="4251" y="10046"/>
                    </a:lnTo>
                    <a:lnTo>
                      <a:pt x="4592" y="9544"/>
                    </a:lnTo>
                    <a:lnTo>
                      <a:pt x="4932" y="8874"/>
                    </a:lnTo>
                    <a:lnTo>
                      <a:pt x="5612" y="7199"/>
                    </a:lnTo>
                    <a:lnTo>
                      <a:pt x="5782" y="7032"/>
                    </a:lnTo>
                    <a:lnTo>
                      <a:pt x="5782" y="6697"/>
                    </a:lnTo>
                    <a:lnTo>
                      <a:pt x="5952" y="6195"/>
                    </a:lnTo>
                    <a:lnTo>
                      <a:pt x="5952" y="6027"/>
                    </a:lnTo>
                    <a:lnTo>
                      <a:pt x="6122" y="5860"/>
                    </a:lnTo>
                    <a:lnTo>
                      <a:pt x="6122" y="3348"/>
                    </a:lnTo>
                    <a:lnTo>
                      <a:pt x="6292" y="2846"/>
                    </a:lnTo>
                    <a:lnTo>
                      <a:pt x="6292" y="2679"/>
                    </a:lnTo>
                    <a:lnTo>
                      <a:pt x="6462" y="2511"/>
                    </a:lnTo>
                    <a:lnTo>
                      <a:pt x="6462" y="2009"/>
                    </a:lnTo>
                    <a:lnTo>
                      <a:pt x="6292" y="1674"/>
                    </a:lnTo>
                    <a:lnTo>
                      <a:pt x="6122" y="1506"/>
                    </a:lnTo>
                    <a:lnTo>
                      <a:pt x="6122" y="1172"/>
                    </a:lnTo>
                    <a:lnTo>
                      <a:pt x="6803" y="502"/>
                    </a:lnTo>
                    <a:lnTo>
                      <a:pt x="7143" y="502"/>
                    </a:lnTo>
                    <a:lnTo>
                      <a:pt x="7653" y="334"/>
                    </a:lnTo>
                    <a:lnTo>
                      <a:pt x="7653" y="502"/>
                    </a:lnTo>
                    <a:lnTo>
                      <a:pt x="7993" y="837"/>
                    </a:lnTo>
                    <a:lnTo>
                      <a:pt x="8163" y="1172"/>
                    </a:lnTo>
                    <a:lnTo>
                      <a:pt x="8163" y="1339"/>
                    </a:lnTo>
                    <a:lnTo>
                      <a:pt x="8333" y="1339"/>
                    </a:lnTo>
                    <a:lnTo>
                      <a:pt x="8503" y="1172"/>
                    </a:lnTo>
                    <a:lnTo>
                      <a:pt x="8844" y="1172"/>
                    </a:lnTo>
                    <a:lnTo>
                      <a:pt x="9354" y="1004"/>
                    </a:lnTo>
                    <a:lnTo>
                      <a:pt x="11055" y="1004"/>
                    </a:lnTo>
                    <a:lnTo>
                      <a:pt x="11395" y="837"/>
                    </a:lnTo>
                    <a:lnTo>
                      <a:pt x="15307" y="0"/>
                    </a:lnTo>
                    <a:lnTo>
                      <a:pt x="15307" y="167"/>
                    </a:lnTo>
                    <a:lnTo>
                      <a:pt x="15987" y="837"/>
                    </a:lnTo>
                    <a:lnTo>
                      <a:pt x="17007" y="1172"/>
                    </a:lnTo>
                    <a:lnTo>
                      <a:pt x="17177" y="1172"/>
                    </a:lnTo>
                    <a:lnTo>
                      <a:pt x="17348" y="1339"/>
                    </a:lnTo>
                    <a:lnTo>
                      <a:pt x="17688" y="1339"/>
                    </a:lnTo>
                    <a:lnTo>
                      <a:pt x="18028" y="1506"/>
                    </a:lnTo>
                    <a:lnTo>
                      <a:pt x="18368" y="2009"/>
                    </a:lnTo>
                    <a:lnTo>
                      <a:pt x="19388" y="2009"/>
                    </a:lnTo>
                    <a:lnTo>
                      <a:pt x="20069" y="2176"/>
                    </a:lnTo>
                    <a:lnTo>
                      <a:pt x="20749" y="2176"/>
                    </a:lnTo>
                    <a:lnTo>
                      <a:pt x="20749" y="2344"/>
                    </a:lnTo>
                    <a:lnTo>
                      <a:pt x="20579" y="2679"/>
                    </a:lnTo>
                    <a:lnTo>
                      <a:pt x="20579" y="3181"/>
                    </a:lnTo>
                    <a:lnTo>
                      <a:pt x="20239" y="3516"/>
                    </a:lnTo>
                    <a:lnTo>
                      <a:pt x="20239" y="4688"/>
                    </a:lnTo>
                    <a:lnTo>
                      <a:pt x="19899" y="5358"/>
                    </a:lnTo>
                    <a:lnTo>
                      <a:pt x="19729" y="5860"/>
                    </a:lnTo>
                    <a:lnTo>
                      <a:pt x="19559" y="6195"/>
                    </a:lnTo>
                    <a:lnTo>
                      <a:pt x="19559" y="8874"/>
                    </a:lnTo>
                    <a:lnTo>
                      <a:pt x="19899" y="9879"/>
                    </a:lnTo>
                    <a:lnTo>
                      <a:pt x="20239" y="11218"/>
                    </a:lnTo>
                    <a:lnTo>
                      <a:pt x="20409" y="12725"/>
                    </a:lnTo>
                    <a:lnTo>
                      <a:pt x="20749" y="14232"/>
                    </a:lnTo>
                    <a:lnTo>
                      <a:pt x="21089" y="15404"/>
                    </a:lnTo>
                    <a:lnTo>
                      <a:pt x="21259" y="16074"/>
                    </a:lnTo>
                    <a:lnTo>
                      <a:pt x="21259" y="16241"/>
                    </a:lnTo>
                    <a:lnTo>
                      <a:pt x="20069" y="16241"/>
                    </a:lnTo>
                    <a:lnTo>
                      <a:pt x="19729" y="16409"/>
                    </a:lnTo>
                    <a:lnTo>
                      <a:pt x="19388" y="16744"/>
                    </a:lnTo>
                    <a:lnTo>
                      <a:pt x="19218" y="17079"/>
                    </a:lnTo>
                    <a:lnTo>
                      <a:pt x="19218" y="17581"/>
                    </a:lnTo>
                    <a:lnTo>
                      <a:pt x="19559" y="18251"/>
                    </a:lnTo>
                    <a:lnTo>
                      <a:pt x="19729" y="18753"/>
                    </a:lnTo>
                    <a:lnTo>
                      <a:pt x="19899" y="19088"/>
                    </a:lnTo>
                    <a:lnTo>
                      <a:pt x="20069" y="19590"/>
                    </a:lnTo>
                    <a:lnTo>
                      <a:pt x="20239" y="19925"/>
                    </a:lnTo>
                    <a:lnTo>
                      <a:pt x="20409" y="20093"/>
                    </a:lnTo>
                    <a:lnTo>
                      <a:pt x="21599" y="20260"/>
                    </a:lnTo>
                    <a:lnTo>
                      <a:pt x="21599" y="21432"/>
                    </a:lnTo>
                    <a:lnTo>
                      <a:pt x="21259" y="21600"/>
                    </a:lnTo>
                    <a:lnTo>
                      <a:pt x="20239" y="21265"/>
                    </a:lnTo>
                    <a:lnTo>
                      <a:pt x="18878" y="20427"/>
                    </a:lnTo>
                    <a:lnTo>
                      <a:pt x="18198" y="19255"/>
                    </a:lnTo>
                    <a:lnTo>
                      <a:pt x="18198" y="19423"/>
                    </a:lnTo>
                    <a:lnTo>
                      <a:pt x="18028" y="19423"/>
                    </a:lnTo>
                    <a:lnTo>
                      <a:pt x="17858" y="19255"/>
                    </a:lnTo>
                    <a:lnTo>
                      <a:pt x="17688" y="19255"/>
                    </a:lnTo>
                    <a:lnTo>
                      <a:pt x="17518" y="19088"/>
                    </a:lnTo>
                    <a:lnTo>
                      <a:pt x="17518" y="18920"/>
                    </a:lnTo>
                    <a:lnTo>
                      <a:pt x="17348" y="19088"/>
                    </a:lnTo>
                    <a:lnTo>
                      <a:pt x="17348" y="19255"/>
                    </a:lnTo>
                    <a:lnTo>
                      <a:pt x="16327" y="19255"/>
                    </a:lnTo>
                    <a:lnTo>
                      <a:pt x="15477" y="19088"/>
                    </a:lnTo>
                    <a:lnTo>
                      <a:pt x="14456" y="18920"/>
                    </a:lnTo>
                    <a:lnTo>
                      <a:pt x="13946" y="18753"/>
                    </a:lnTo>
                    <a:lnTo>
                      <a:pt x="13776" y="18753"/>
                    </a:lnTo>
                    <a:lnTo>
                      <a:pt x="13606" y="18586"/>
                    </a:lnTo>
                    <a:lnTo>
                      <a:pt x="13436" y="18586"/>
                    </a:lnTo>
                    <a:lnTo>
                      <a:pt x="13436" y="18418"/>
                    </a:lnTo>
                    <a:lnTo>
                      <a:pt x="13266" y="18418"/>
                    </a:lnTo>
                    <a:lnTo>
                      <a:pt x="13096" y="18251"/>
                    </a:lnTo>
                    <a:lnTo>
                      <a:pt x="11055" y="18251"/>
                    </a:lnTo>
                    <a:lnTo>
                      <a:pt x="10544" y="18418"/>
                    </a:lnTo>
                    <a:lnTo>
                      <a:pt x="9354" y="18251"/>
                    </a:lnTo>
                    <a:lnTo>
                      <a:pt x="9354" y="17916"/>
                    </a:lnTo>
                    <a:lnTo>
                      <a:pt x="9524" y="17581"/>
                    </a:lnTo>
                    <a:lnTo>
                      <a:pt x="9524" y="16744"/>
                    </a:lnTo>
                    <a:lnTo>
                      <a:pt x="9184" y="16074"/>
                    </a:lnTo>
                    <a:lnTo>
                      <a:pt x="9184" y="14734"/>
                    </a:lnTo>
                    <a:lnTo>
                      <a:pt x="8333" y="14734"/>
                    </a:lnTo>
                    <a:lnTo>
                      <a:pt x="8333" y="14232"/>
                    </a:lnTo>
                    <a:lnTo>
                      <a:pt x="7143" y="14400"/>
                    </a:lnTo>
                    <a:lnTo>
                      <a:pt x="6973" y="14734"/>
                    </a:lnTo>
                    <a:lnTo>
                      <a:pt x="6973" y="15404"/>
                    </a:lnTo>
                    <a:lnTo>
                      <a:pt x="5102" y="15237"/>
                    </a:lnTo>
                    <a:lnTo>
                      <a:pt x="4422" y="13227"/>
                    </a:lnTo>
                    <a:lnTo>
                      <a:pt x="2381" y="13227"/>
                    </a:lnTo>
                    <a:lnTo>
                      <a:pt x="1700" y="13395"/>
                    </a:lnTo>
                    <a:lnTo>
                      <a:pt x="170" y="13562"/>
                    </a:lnTo>
                    <a:lnTo>
                      <a:pt x="0" y="12725"/>
                    </a:lnTo>
                    <a:lnTo>
                      <a:pt x="85" y="13479"/>
                    </a:lnTo>
                    <a:lnTo>
                      <a:pt x="0" y="1272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89" name="AutoShape 153"/>
              <p:cNvSpPr>
                <a:spLocks/>
              </p:cNvSpPr>
              <p:nvPr/>
            </p:nvSpPr>
            <p:spPr bwMode="auto">
              <a:xfrm>
                <a:off x="544197" y="672214"/>
                <a:ext cx="219075" cy="12534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810" y="0"/>
                    </a:moveTo>
                    <a:lnTo>
                      <a:pt x="15810" y="359"/>
                    </a:lnTo>
                    <a:lnTo>
                      <a:pt x="14251" y="359"/>
                    </a:lnTo>
                    <a:lnTo>
                      <a:pt x="13806" y="719"/>
                    </a:lnTo>
                    <a:lnTo>
                      <a:pt x="13360" y="1439"/>
                    </a:lnTo>
                    <a:lnTo>
                      <a:pt x="13138" y="2159"/>
                    </a:lnTo>
                    <a:lnTo>
                      <a:pt x="13138" y="3239"/>
                    </a:lnTo>
                    <a:lnTo>
                      <a:pt x="13583" y="4679"/>
                    </a:lnTo>
                    <a:lnTo>
                      <a:pt x="13806" y="5760"/>
                    </a:lnTo>
                    <a:lnTo>
                      <a:pt x="14028" y="6479"/>
                    </a:lnTo>
                    <a:lnTo>
                      <a:pt x="14251" y="7559"/>
                    </a:lnTo>
                    <a:lnTo>
                      <a:pt x="14474" y="8280"/>
                    </a:lnTo>
                    <a:lnTo>
                      <a:pt x="14696" y="8640"/>
                    </a:lnTo>
                    <a:lnTo>
                      <a:pt x="16255" y="8999"/>
                    </a:lnTo>
                    <a:lnTo>
                      <a:pt x="16255" y="11520"/>
                    </a:lnTo>
                    <a:lnTo>
                      <a:pt x="15810" y="11880"/>
                    </a:lnTo>
                    <a:lnTo>
                      <a:pt x="14474" y="11160"/>
                    </a:lnTo>
                    <a:lnTo>
                      <a:pt x="12692" y="9359"/>
                    </a:lnTo>
                    <a:lnTo>
                      <a:pt x="11802" y="6839"/>
                    </a:lnTo>
                    <a:lnTo>
                      <a:pt x="11802" y="7199"/>
                    </a:lnTo>
                    <a:lnTo>
                      <a:pt x="11579" y="7199"/>
                    </a:lnTo>
                    <a:lnTo>
                      <a:pt x="11356" y="6839"/>
                    </a:lnTo>
                    <a:lnTo>
                      <a:pt x="11134" y="6839"/>
                    </a:lnTo>
                    <a:lnTo>
                      <a:pt x="10911" y="6479"/>
                    </a:lnTo>
                    <a:lnTo>
                      <a:pt x="10911" y="6120"/>
                    </a:lnTo>
                    <a:lnTo>
                      <a:pt x="10688" y="6479"/>
                    </a:lnTo>
                    <a:lnTo>
                      <a:pt x="10688" y="6839"/>
                    </a:lnTo>
                    <a:lnTo>
                      <a:pt x="9352" y="6839"/>
                    </a:lnTo>
                    <a:lnTo>
                      <a:pt x="8239" y="6479"/>
                    </a:lnTo>
                    <a:lnTo>
                      <a:pt x="6903" y="6120"/>
                    </a:lnTo>
                    <a:lnTo>
                      <a:pt x="6235" y="5760"/>
                    </a:lnTo>
                    <a:lnTo>
                      <a:pt x="6012" y="5760"/>
                    </a:lnTo>
                    <a:lnTo>
                      <a:pt x="5789" y="5399"/>
                    </a:lnTo>
                    <a:lnTo>
                      <a:pt x="5567" y="5399"/>
                    </a:lnTo>
                    <a:lnTo>
                      <a:pt x="5567" y="5039"/>
                    </a:lnTo>
                    <a:lnTo>
                      <a:pt x="5344" y="5039"/>
                    </a:lnTo>
                    <a:lnTo>
                      <a:pt x="5121" y="4679"/>
                    </a:lnTo>
                    <a:lnTo>
                      <a:pt x="2449" y="4679"/>
                    </a:lnTo>
                    <a:lnTo>
                      <a:pt x="1781" y="5039"/>
                    </a:lnTo>
                    <a:lnTo>
                      <a:pt x="1781" y="6839"/>
                    </a:lnTo>
                    <a:lnTo>
                      <a:pt x="1558" y="7559"/>
                    </a:lnTo>
                    <a:lnTo>
                      <a:pt x="1558" y="8640"/>
                    </a:lnTo>
                    <a:lnTo>
                      <a:pt x="1781" y="9359"/>
                    </a:lnTo>
                    <a:lnTo>
                      <a:pt x="1781" y="9719"/>
                    </a:lnTo>
                    <a:lnTo>
                      <a:pt x="0" y="10079"/>
                    </a:lnTo>
                    <a:lnTo>
                      <a:pt x="0" y="18359"/>
                    </a:lnTo>
                    <a:lnTo>
                      <a:pt x="222" y="18719"/>
                    </a:lnTo>
                    <a:lnTo>
                      <a:pt x="445" y="19439"/>
                    </a:lnTo>
                    <a:lnTo>
                      <a:pt x="890" y="20159"/>
                    </a:lnTo>
                    <a:lnTo>
                      <a:pt x="1336" y="20519"/>
                    </a:lnTo>
                    <a:lnTo>
                      <a:pt x="2004" y="21240"/>
                    </a:lnTo>
                    <a:lnTo>
                      <a:pt x="2226" y="21240"/>
                    </a:lnTo>
                    <a:lnTo>
                      <a:pt x="2672" y="20879"/>
                    </a:lnTo>
                    <a:lnTo>
                      <a:pt x="6012" y="20879"/>
                    </a:lnTo>
                    <a:lnTo>
                      <a:pt x="6680" y="21240"/>
                    </a:lnTo>
                    <a:lnTo>
                      <a:pt x="7348" y="21240"/>
                    </a:lnTo>
                    <a:lnTo>
                      <a:pt x="8016" y="21600"/>
                    </a:lnTo>
                    <a:lnTo>
                      <a:pt x="10020" y="21600"/>
                    </a:lnTo>
                    <a:lnTo>
                      <a:pt x="11356" y="21240"/>
                    </a:lnTo>
                    <a:lnTo>
                      <a:pt x="12247" y="20519"/>
                    </a:lnTo>
                    <a:lnTo>
                      <a:pt x="12692" y="18719"/>
                    </a:lnTo>
                    <a:lnTo>
                      <a:pt x="21377" y="15839"/>
                    </a:lnTo>
                    <a:lnTo>
                      <a:pt x="21377" y="11520"/>
                    </a:lnTo>
                    <a:lnTo>
                      <a:pt x="21154" y="10079"/>
                    </a:lnTo>
                    <a:lnTo>
                      <a:pt x="21600" y="8999"/>
                    </a:lnTo>
                    <a:lnTo>
                      <a:pt x="21600" y="8280"/>
                    </a:lnTo>
                    <a:lnTo>
                      <a:pt x="21154" y="6120"/>
                    </a:lnTo>
                    <a:lnTo>
                      <a:pt x="20486" y="3599"/>
                    </a:lnTo>
                    <a:lnTo>
                      <a:pt x="19373" y="1799"/>
                    </a:lnTo>
                    <a:lnTo>
                      <a:pt x="17814" y="719"/>
                    </a:lnTo>
                    <a:lnTo>
                      <a:pt x="1581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0" name="AutoShape 154"/>
              <p:cNvSpPr>
                <a:spLocks/>
              </p:cNvSpPr>
              <p:nvPr/>
            </p:nvSpPr>
            <p:spPr bwMode="auto">
              <a:xfrm>
                <a:off x="415609" y="786451"/>
                <a:ext cx="217487" cy="17294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4849" y="1301"/>
                    </a:moveTo>
                    <a:lnTo>
                      <a:pt x="13724" y="1301"/>
                    </a:lnTo>
                    <a:lnTo>
                      <a:pt x="13274" y="1561"/>
                    </a:lnTo>
                    <a:lnTo>
                      <a:pt x="12599" y="1561"/>
                    </a:lnTo>
                    <a:lnTo>
                      <a:pt x="11924" y="1821"/>
                    </a:lnTo>
                    <a:lnTo>
                      <a:pt x="10574" y="1821"/>
                    </a:lnTo>
                    <a:lnTo>
                      <a:pt x="9899" y="1561"/>
                    </a:lnTo>
                    <a:lnTo>
                      <a:pt x="9449" y="1561"/>
                    </a:lnTo>
                    <a:lnTo>
                      <a:pt x="8550" y="1040"/>
                    </a:lnTo>
                    <a:lnTo>
                      <a:pt x="2925" y="1040"/>
                    </a:lnTo>
                    <a:lnTo>
                      <a:pt x="2025" y="0"/>
                    </a:lnTo>
                    <a:lnTo>
                      <a:pt x="900" y="0"/>
                    </a:lnTo>
                    <a:lnTo>
                      <a:pt x="225" y="260"/>
                    </a:lnTo>
                    <a:lnTo>
                      <a:pt x="0" y="1301"/>
                    </a:lnTo>
                    <a:lnTo>
                      <a:pt x="225" y="1561"/>
                    </a:lnTo>
                    <a:lnTo>
                      <a:pt x="1350" y="4163"/>
                    </a:lnTo>
                    <a:lnTo>
                      <a:pt x="1800" y="5465"/>
                    </a:lnTo>
                    <a:lnTo>
                      <a:pt x="2025" y="7026"/>
                    </a:lnTo>
                    <a:lnTo>
                      <a:pt x="2249" y="7546"/>
                    </a:lnTo>
                    <a:lnTo>
                      <a:pt x="2700" y="9368"/>
                    </a:lnTo>
                    <a:lnTo>
                      <a:pt x="3150" y="11710"/>
                    </a:lnTo>
                    <a:lnTo>
                      <a:pt x="3825" y="14313"/>
                    </a:lnTo>
                    <a:lnTo>
                      <a:pt x="4724" y="16395"/>
                    </a:lnTo>
                    <a:lnTo>
                      <a:pt x="5174" y="17696"/>
                    </a:lnTo>
                    <a:lnTo>
                      <a:pt x="5400" y="17696"/>
                    </a:lnTo>
                    <a:lnTo>
                      <a:pt x="5400" y="18216"/>
                    </a:lnTo>
                    <a:lnTo>
                      <a:pt x="5850" y="19257"/>
                    </a:lnTo>
                    <a:lnTo>
                      <a:pt x="6300" y="19778"/>
                    </a:lnTo>
                    <a:lnTo>
                      <a:pt x="6524" y="20559"/>
                    </a:lnTo>
                    <a:lnTo>
                      <a:pt x="6750" y="21079"/>
                    </a:lnTo>
                    <a:lnTo>
                      <a:pt x="6750" y="21339"/>
                    </a:lnTo>
                    <a:lnTo>
                      <a:pt x="8100" y="20819"/>
                    </a:lnTo>
                    <a:lnTo>
                      <a:pt x="8324" y="20559"/>
                    </a:lnTo>
                    <a:lnTo>
                      <a:pt x="8324" y="20298"/>
                    </a:lnTo>
                    <a:lnTo>
                      <a:pt x="8550" y="20038"/>
                    </a:lnTo>
                    <a:lnTo>
                      <a:pt x="8550" y="19778"/>
                    </a:lnTo>
                    <a:lnTo>
                      <a:pt x="8774" y="19518"/>
                    </a:lnTo>
                    <a:lnTo>
                      <a:pt x="8999" y="19778"/>
                    </a:lnTo>
                    <a:lnTo>
                      <a:pt x="9224" y="19778"/>
                    </a:lnTo>
                    <a:lnTo>
                      <a:pt x="9224" y="21079"/>
                    </a:lnTo>
                    <a:lnTo>
                      <a:pt x="9449" y="21339"/>
                    </a:lnTo>
                    <a:lnTo>
                      <a:pt x="10574" y="21339"/>
                    </a:lnTo>
                    <a:lnTo>
                      <a:pt x="11024" y="21599"/>
                    </a:lnTo>
                    <a:lnTo>
                      <a:pt x="11699" y="21599"/>
                    </a:lnTo>
                    <a:lnTo>
                      <a:pt x="12599" y="21079"/>
                    </a:lnTo>
                    <a:lnTo>
                      <a:pt x="12824" y="20819"/>
                    </a:lnTo>
                    <a:lnTo>
                      <a:pt x="12824" y="7807"/>
                    </a:lnTo>
                    <a:lnTo>
                      <a:pt x="14399" y="7807"/>
                    </a:lnTo>
                    <a:lnTo>
                      <a:pt x="14399" y="2081"/>
                    </a:lnTo>
                    <a:lnTo>
                      <a:pt x="16199" y="2081"/>
                    </a:lnTo>
                    <a:lnTo>
                      <a:pt x="17549" y="1821"/>
                    </a:lnTo>
                    <a:lnTo>
                      <a:pt x="18449" y="2081"/>
                    </a:lnTo>
                    <a:lnTo>
                      <a:pt x="18899" y="2342"/>
                    </a:lnTo>
                    <a:lnTo>
                      <a:pt x="18899" y="2602"/>
                    </a:lnTo>
                    <a:lnTo>
                      <a:pt x="19124" y="2862"/>
                    </a:lnTo>
                    <a:lnTo>
                      <a:pt x="19349" y="2602"/>
                    </a:lnTo>
                    <a:lnTo>
                      <a:pt x="19799" y="2342"/>
                    </a:lnTo>
                    <a:lnTo>
                      <a:pt x="20475" y="2081"/>
                    </a:lnTo>
                    <a:lnTo>
                      <a:pt x="21374" y="1561"/>
                    </a:lnTo>
                    <a:lnTo>
                      <a:pt x="21599" y="1561"/>
                    </a:lnTo>
                    <a:lnTo>
                      <a:pt x="21149" y="1561"/>
                    </a:lnTo>
                    <a:lnTo>
                      <a:pt x="20024" y="1301"/>
                    </a:lnTo>
                    <a:lnTo>
                      <a:pt x="18674" y="1040"/>
                    </a:lnTo>
                    <a:lnTo>
                      <a:pt x="17549" y="1040"/>
                    </a:lnTo>
                    <a:lnTo>
                      <a:pt x="14849" y="130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1" name="AutoShape 155"/>
              <p:cNvSpPr>
                <a:spLocks/>
              </p:cNvSpPr>
              <p:nvPr/>
            </p:nvSpPr>
            <p:spPr bwMode="auto">
              <a:xfrm>
                <a:off x="858522" y="385034"/>
                <a:ext cx="131763" cy="17294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744" y="21599"/>
                    </a:moveTo>
                    <a:lnTo>
                      <a:pt x="5213" y="19492"/>
                    </a:lnTo>
                    <a:lnTo>
                      <a:pt x="5958" y="18965"/>
                    </a:lnTo>
                    <a:lnTo>
                      <a:pt x="7075" y="17912"/>
                    </a:lnTo>
                    <a:lnTo>
                      <a:pt x="9310" y="16595"/>
                    </a:lnTo>
                    <a:lnTo>
                      <a:pt x="11544" y="14751"/>
                    </a:lnTo>
                    <a:lnTo>
                      <a:pt x="15268" y="11063"/>
                    </a:lnTo>
                    <a:lnTo>
                      <a:pt x="17131" y="8692"/>
                    </a:lnTo>
                    <a:lnTo>
                      <a:pt x="18620" y="6585"/>
                    </a:lnTo>
                    <a:lnTo>
                      <a:pt x="19737" y="4741"/>
                    </a:lnTo>
                    <a:lnTo>
                      <a:pt x="20110" y="4214"/>
                    </a:lnTo>
                    <a:lnTo>
                      <a:pt x="21600" y="2370"/>
                    </a:lnTo>
                    <a:lnTo>
                      <a:pt x="21600" y="0"/>
                    </a:lnTo>
                    <a:lnTo>
                      <a:pt x="20110" y="0"/>
                    </a:lnTo>
                    <a:lnTo>
                      <a:pt x="19737" y="263"/>
                    </a:lnTo>
                    <a:lnTo>
                      <a:pt x="18993" y="263"/>
                    </a:lnTo>
                    <a:lnTo>
                      <a:pt x="18248" y="526"/>
                    </a:lnTo>
                    <a:lnTo>
                      <a:pt x="17131" y="526"/>
                    </a:lnTo>
                    <a:lnTo>
                      <a:pt x="14896" y="790"/>
                    </a:lnTo>
                    <a:lnTo>
                      <a:pt x="12289" y="1053"/>
                    </a:lnTo>
                    <a:lnTo>
                      <a:pt x="10055" y="1317"/>
                    </a:lnTo>
                    <a:lnTo>
                      <a:pt x="9310" y="1317"/>
                    </a:lnTo>
                    <a:lnTo>
                      <a:pt x="5213" y="1843"/>
                    </a:lnTo>
                    <a:lnTo>
                      <a:pt x="4841" y="1580"/>
                    </a:lnTo>
                    <a:lnTo>
                      <a:pt x="4468" y="1580"/>
                    </a:lnTo>
                    <a:lnTo>
                      <a:pt x="3724" y="1317"/>
                    </a:lnTo>
                    <a:lnTo>
                      <a:pt x="2606" y="2634"/>
                    </a:lnTo>
                    <a:lnTo>
                      <a:pt x="2979" y="2897"/>
                    </a:lnTo>
                    <a:lnTo>
                      <a:pt x="2606" y="3687"/>
                    </a:lnTo>
                    <a:lnTo>
                      <a:pt x="4468" y="4478"/>
                    </a:lnTo>
                    <a:lnTo>
                      <a:pt x="10427" y="6848"/>
                    </a:lnTo>
                    <a:lnTo>
                      <a:pt x="13034" y="7112"/>
                    </a:lnTo>
                    <a:lnTo>
                      <a:pt x="7448" y="12643"/>
                    </a:lnTo>
                    <a:lnTo>
                      <a:pt x="4468" y="13434"/>
                    </a:lnTo>
                    <a:lnTo>
                      <a:pt x="4096" y="14224"/>
                    </a:lnTo>
                    <a:lnTo>
                      <a:pt x="1117" y="14224"/>
                    </a:lnTo>
                    <a:lnTo>
                      <a:pt x="0" y="16068"/>
                    </a:lnTo>
                    <a:lnTo>
                      <a:pt x="0" y="20546"/>
                    </a:lnTo>
                    <a:lnTo>
                      <a:pt x="744" y="215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2" name="AutoShape 156"/>
              <p:cNvSpPr>
                <a:spLocks/>
              </p:cNvSpPr>
              <p:nvPr/>
            </p:nvSpPr>
            <p:spPr bwMode="auto">
              <a:xfrm>
                <a:off x="745810" y="486578"/>
                <a:ext cx="120650" cy="13010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449" y="20206"/>
                    </a:moveTo>
                    <a:lnTo>
                      <a:pt x="16709" y="17419"/>
                    </a:lnTo>
                    <a:lnTo>
                      <a:pt x="20784" y="11845"/>
                    </a:lnTo>
                    <a:lnTo>
                      <a:pt x="21192" y="11845"/>
                    </a:lnTo>
                    <a:lnTo>
                      <a:pt x="20377" y="10451"/>
                    </a:lnTo>
                    <a:lnTo>
                      <a:pt x="20377" y="4529"/>
                    </a:lnTo>
                    <a:lnTo>
                      <a:pt x="21599" y="2090"/>
                    </a:lnTo>
                    <a:lnTo>
                      <a:pt x="21192" y="1045"/>
                    </a:lnTo>
                    <a:lnTo>
                      <a:pt x="17116" y="1741"/>
                    </a:lnTo>
                    <a:lnTo>
                      <a:pt x="15486" y="3135"/>
                    </a:lnTo>
                    <a:lnTo>
                      <a:pt x="11818" y="2787"/>
                    </a:lnTo>
                    <a:lnTo>
                      <a:pt x="8150" y="0"/>
                    </a:lnTo>
                    <a:lnTo>
                      <a:pt x="5298" y="0"/>
                    </a:lnTo>
                    <a:lnTo>
                      <a:pt x="4483" y="696"/>
                    </a:lnTo>
                    <a:lnTo>
                      <a:pt x="3260" y="696"/>
                    </a:lnTo>
                    <a:lnTo>
                      <a:pt x="1630" y="1045"/>
                    </a:lnTo>
                    <a:lnTo>
                      <a:pt x="2037" y="2090"/>
                    </a:lnTo>
                    <a:lnTo>
                      <a:pt x="2852" y="6967"/>
                    </a:lnTo>
                    <a:lnTo>
                      <a:pt x="0" y="9754"/>
                    </a:lnTo>
                    <a:lnTo>
                      <a:pt x="407" y="10103"/>
                    </a:lnTo>
                    <a:lnTo>
                      <a:pt x="815" y="10800"/>
                    </a:lnTo>
                    <a:lnTo>
                      <a:pt x="815" y="11496"/>
                    </a:lnTo>
                    <a:lnTo>
                      <a:pt x="1222" y="12193"/>
                    </a:lnTo>
                    <a:lnTo>
                      <a:pt x="407" y="13587"/>
                    </a:lnTo>
                    <a:lnTo>
                      <a:pt x="9373" y="19161"/>
                    </a:lnTo>
                    <a:lnTo>
                      <a:pt x="9781" y="19509"/>
                    </a:lnTo>
                    <a:lnTo>
                      <a:pt x="9781" y="19858"/>
                    </a:lnTo>
                    <a:lnTo>
                      <a:pt x="10188" y="20206"/>
                    </a:lnTo>
                    <a:lnTo>
                      <a:pt x="12633" y="21599"/>
                    </a:lnTo>
                    <a:lnTo>
                      <a:pt x="13449" y="20206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3" name="AutoShape 157"/>
              <p:cNvSpPr>
                <a:spLocks/>
              </p:cNvSpPr>
              <p:nvPr/>
            </p:nvSpPr>
            <p:spPr bwMode="auto">
              <a:xfrm>
                <a:off x="739460" y="305702"/>
                <a:ext cx="201612" cy="19832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008" y="0"/>
                    </a:moveTo>
                    <a:lnTo>
                      <a:pt x="6795" y="1136"/>
                    </a:lnTo>
                    <a:lnTo>
                      <a:pt x="6552" y="1136"/>
                    </a:lnTo>
                    <a:lnTo>
                      <a:pt x="6310" y="1364"/>
                    </a:lnTo>
                    <a:lnTo>
                      <a:pt x="5824" y="1591"/>
                    </a:lnTo>
                    <a:lnTo>
                      <a:pt x="5582" y="2046"/>
                    </a:lnTo>
                    <a:lnTo>
                      <a:pt x="5096" y="2501"/>
                    </a:lnTo>
                    <a:lnTo>
                      <a:pt x="4853" y="2955"/>
                    </a:lnTo>
                    <a:lnTo>
                      <a:pt x="4368" y="3410"/>
                    </a:lnTo>
                    <a:lnTo>
                      <a:pt x="4125" y="4547"/>
                    </a:lnTo>
                    <a:lnTo>
                      <a:pt x="3155" y="6821"/>
                    </a:lnTo>
                    <a:lnTo>
                      <a:pt x="2912" y="7048"/>
                    </a:lnTo>
                    <a:lnTo>
                      <a:pt x="1941" y="7730"/>
                    </a:lnTo>
                    <a:lnTo>
                      <a:pt x="1456" y="8639"/>
                    </a:lnTo>
                    <a:lnTo>
                      <a:pt x="970" y="9322"/>
                    </a:lnTo>
                    <a:lnTo>
                      <a:pt x="485" y="10231"/>
                    </a:lnTo>
                    <a:lnTo>
                      <a:pt x="485" y="12959"/>
                    </a:lnTo>
                    <a:lnTo>
                      <a:pt x="0" y="13187"/>
                    </a:lnTo>
                    <a:lnTo>
                      <a:pt x="0" y="13869"/>
                    </a:lnTo>
                    <a:lnTo>
                      <a:pt x="485" y="14324"/>
                    </a:lnTo>
                    <a:lnTo>
                      <a:pt x="728" y="14324"/>
                    </a:lnTo>
                    <a:lnTo>
                      <a:pt x="1698" y="15233"/>
                    </a:lnTo>
                    <a:lnTo>
                      <a:pt x="2184" y="15915"/>
                    </a:lnTo>
                    <a:lnTo>
                      <a:pt x="2669" y="16370"/>
                    </a:lnTo>
                    <a:lnTo>
                      <a:pt x="2912" y="16825"/>
                    </a:lnTo>
                    <a:lnTo>
                      <a:pt x="3397" y="17279"/>
                    </a:lnTo>
                    <a:lnTo>
                      <a:pt x="3397" y="17507"/>
                    </a:lnTo>
                    <a:lnTo>
                      <a:pt x="3640" y="17507"/>
                    </a:lnTo>
                    <a:lnTo>
                      <a:pt x="3883" y="19553"/>
                    </a:lnTo>
                    <a:lnTo>
                      <a:pt x="5582" y="19553"/>
                    </a:lnTo>
                    <a:lnTo>
                      <a:pt x="7766" y="21372"/>
                    </a:lnTo>
                    <a:lnTo>
                      <a:pt x="9950" y="21600"/>
                    </a:lnTo>
                    <a:lnTo>
                      <a:pt x="10921" y="20690"/>
                    </a:lnTo>
                    <a:lnTo>
                      <a:pt x="13348" y="20235"/>
                    </a:lnTo>
                    <a:lnTo>
                      <a:pt x="13591" y="20917"/>
                    </a:lnTo>
                    <a:lnTo>
                      <a:pt x="15532" y="20917"/>
                    </a:lnTo>
                    <a:lnTo>
                      <a:pt x="15775" y="20235"/>
                    </a:lnTo>
                    <a:lnTo>
                      <a:pt x="17716" y="19553"/>
                    </a:lnTo>
                    <a:lnTo>
                      <a:pt x="21600" y="14778"/>
                    </a:lnTo>
                    <a:lnTo>
                      <a:pt x="19658" y="14551"/>
                    </a:lnTo>
                    <a:lnTo>
                      <a:pt x="15775" y="12505"/>
                    </a:lnTo>
                    <a:lnTo>
                      <a:pt x="14561" y="11823"/>
                    </a:lnTo>
                    <a:lnTo>
                      <a:pt x="14804" y="11141"/>
                    </a:lnTo>
                    <a:lnTo>
                      <a:pt x="14561" y="10913"/>
                    </a:lnTo>
                    <a:lnTo>
                      <a:pt x="12862" y="10458"/>
                    </a:lnTo>
                    <a:lnTo>
                      <a:pt x="12620" y="9094"/>
                    </a:lnTo>
                    <a:lnTo>
                      <a:pt x="13591" y="8185"/>
                    </a:lnTo>
                    <a:lnTo>
                      <a:pt x="13833" y="8412"/>
                    </a:lnTo>
                    <a:lnTo>
                      <a:pt x="14319" y="7957"/>
                    </a:lnTo>
                    <a:lnTo>
                      <a:pt x="14319" y="7503"/>
                    </a:lnTo>
                    <a:lnTo>
                      <a:pt x="14076" y="7275"/>
                    </a:lnTo>
                    <a:lnTo>
                      <a:pt x="13833" y="6821"/>
                    </a:lnTo>
                    <a:lnTo>
                      <a:pt x="12620" y="5684"/>
                    </a:lnTo>
                    <a:lnTo>
                      <a:pt x="11649" y="5002"/>
                    </a:lnTo>
                    <a:lnTo>
                      <a:pt x="11649" y="4774"/>
                    </a:lnTo>
                    <a:lnTo>
                      <a:pt x="11406" y="4547"/>
                    </a:lnTo>
                    <a:lnTo>
                      <a:pt x="10921" y="4319"/>
                    </a:lnTo>
                    <a:lnTo>
                      <a:pt x="9465" y="2955"/>
                    </a:lnTo>
                    <a:lnTo>
                      <a:pt x="9222" y="2273"/>
                    </a:lnTo>
                    <a:lnTo>
                      <a:pt x="8979" y="1818"/>
                    </a:lnTo>
                    <a:lnTo>
                      <a:pt x="8737" y="1591"/>
                    </a:lnTo>
                    <a:lnTo>
                      <a:pt x="8737" y="1364"/>
                    </a:lnTo>
                    <a:lnTo>
                      <a:pt x="8494" y="1136"/>
                    </a:lnTo>
                    <a:lnTo>
                      <a:pt x="8494" y="682"/>
                    </a:lnTo>
                    <a:lnTo>
                      <a:pt x="8008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4" name="AutoShape 158"/>
              <p:cNvSpPr>
                <a:spLocks/>
              </p:cNvSpPr>
              <p:nvPr/>
            </p:nvSpPr>
            <p:spPr bwMode="auto">
              <a:xfrm>
                <a:off x="685485" y="584949"/>
                <a:ext cx="26987" cy="3332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6199" y="0"/>
                    </a:moveTo>
                    <a:lnTo>
                      <a:pt x="16199" y="1350"/>
                    </a:lnTo>
                    <a:lnTo>
                      <a:pt x="14399" y="1350"/>
                    </a:lnTo>
                    <a:lnTo>
                      <a:pt x="10800" y="4050"/>
                    </a:lnTo>
                    <a:lnTo>
                      <a:pt x="8999" y="4050"/>
                    </a:lnTo>
                    <a:lnTo>
                      <a:pt x="8999" y="5400"/>
                    </a:lnTo>
                    <a:lnTo>
                      <a:pt x="5400" y="5400"/>
                    </a:lnTo>
                    <a:lnTo>
                      <a:pt x="1799" y="4050"/>
                    </a:lnTo>
                    <a:lnTo>
                      <a:pt x="0" y="4050"/>
                    </a:lnTo>
                    <a:lnTo>
                      <a:pt x="7199" y="21599"/>
                    </a:lnTo>
                    <a:lnTo>
                      <a:pt x="8999" y="20249"/>
                    </a:lnTo>
                    <a:lnTo>
                      <a:pt x="12599" y="18899"/>
                    </a:lnTo>
                    <a:lnTo>
                      <a:pt x="14399" y="16199"/>
                    </a:lnTo>
                    <a:lnTo>
                      <a:pt x="17999" y="13499"/>
                    </a:lnTo>
                    <a:lnTo>
                      <a:pt x="21599" y="8100"/>
                    </a:lnTo>
                    <a:lnTo>
                      <a:pt x="21599" y="6749"/>
                    </a:lnTo>
                    <a:lnTo>
                      <a:pt x="17999" y="4050"/>
                    </a:lnTo>
                    <a:lnTo>
                      <a:pt x="17999" y="2700"/>
                    </a:lnTo>
                    <a:lnTo>
                      <a:pt x="1619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5" name="AutoShape 159"/>
              <p:cNvSpPr>
                <a:spLocks/>
              </p:cNvSpPr>
              <p:nvPr/>
            </p:nvSpPr>
            <p:spPr bwMode="auto">
              <a:xfrm>
                <a:off x="695010" y="562736"/>
                <a:ext cx="141287" cy="14914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228" y="608"/>
                    </a:moveTo>
                    <a:lnTo>
                      <a:pt x="6857" y="608"/>
                    </a:lnTo>
                    <a:lnTo>
                      <a:pt x="6857" y="912"/>
                    </a:lnTo>
                    <a:lnTo>
                      <a:pt x="6514" y="1521"/>
                    </a:lnTo>
                    <a:lnTo>
                      <a:pt x="6514" y="1825"/>
                    </a:lnTo>
                    <a:lnTo>
                      <a:pt x="6171" y="2433"/>
                    </a:lnTo>
                    <a:lnTo>
                      <a:pt x="5485" y="2738"/>
                    </a:lnTo>
                    <a:lnTo>
                      <a:pt x="4799" y="2738"/>
                    </a:lnTo>
                    <a:lnTo>
                      <a:pt x="4114" y="2433"/>
                    </a:lnTo>
                    <a:lnTo>
                      <a:pt x="3771" y="1825"/>
                    </a:lnTo>
                    <a:lnTo>
                      <a:pt x="3428" y="1521"/>
                    </a:lnTo>
                    <a:lnTo>
                      <a:pt x="3085" y="912"/>
                    </a:lnTo>
                    <a:lnTo>
                      <a:pt x="3085" y="0"/>
                    </a:lnTo>
                    <a:lnTo>
                      <a:pt x="1714" y="304"/>
                    </a:lnTo>
                    <a:lnTo>
                      <a:pt x="1714" y="912"/>
                    </a:lnTo>
                    <a:lnTo>
                      <a:pt x="2057" y="1521"/>
                    </a:lnTo>
                    <a:lnTo>
                      <a:pt x="2057" y="2129"/>
                    </a:lnTo>
                    <a:lnTo>
                      <a:pt x="2399" y="2433"/>
                    </a:lnTo>
                    <a:lnTo>
                      <a:pt x="2057" y="2738"/>
                    </a:lnTo>
                    <a:lnTo>
                      <a:pt x="2057" y="3954"/>
                    </a:lnTo>
                    <a:lnTo>
                      <a:pt x="2399" y="4259"/>
                    </a:lnTo>
                    <a:lnTo>
                      <a:pt x="2742" y="4867"/>
                    </a:lnTo>
                    <a:lnTo>
                      <a:pt x="2742" y="5476"/>
                    </a:lnTo>
                    <a:lnTo>
                      <a:pt x="1714" y="6388"/>
                    </a:lnTo>
                    <a:lnTo>
                      <a:pt x="1028" y="7301"/>
                    </a:lnTo>
                    <a:lnTo>
                      <a:pt x="0" y="8214"/>
                    </a:lnTo>
                    <a:lnTo>
                      <a:pt x="1714" y="15819"/>
                    </a:lnTo>
                    <a:lnTo>
                      <a:pt x="2399" y="15819"/>
                    </a:lnTo>
                    <a:lnTo>
                      <a:pt x="2742" y="16123"/>
                    </a:lnTo>
                    <a:lnTo>
                      <a:pt x="3771" y="16123"/>
                    </a:lnTo>
                    <a:lnTo>
                      <a:pt x="4457" y="16428"/>
                    </a:lnTo>
                    <a:lnTo>
                      <a:pt x="8228" y="16428"/>
                    </a:lnTo>
                    <a:lnTo>
                      <a:pt x="9599" y="17645"/>
                    </a:lnTo>
                    <a:lnTo>
                      <a:pt x="10285" y="18861"/>
                    </a:lnTo>
                    <a:lnTo>
                      <a:pt x="10285" y="19166"/>
                    </a:lnTo>
                    <a:lnTo>
                      <a:pt x="10628" y="19470"/>
                    </a:lnTo>
                    <a:lnTo>
                      <a:pt x="10628" y="20078"/>
                    </a:lnTo>
                    <a:lnTo>
                      <a:pt x="10971" y="20991"/>
                    </a:lnTo>
                    <a:lnTo>
                      <a:pt x="11657" y="21600"/>
                    </a:lnTo>
                    <a:lnTo>
                      <a:pt x="13714" y="21600"/>
                    </a:lnTo>
                    <a:lnTo>
                      <a:pt x="14400" y="21295"/>
                    </a:lnTo>
                    <a:lnTo>
                      <a:pt x="14742" y="21600"/>
                    </a:lnTo>
                    <a:lnTo>
                      <a:pt x="18171" y="21600"/>
                    </a:lnTo>
                    <a:lnTo>
                      <a:pt x="21600" y="20383"/>
                    </a:lnTo>
                    <a:lnTo>
                      <a:pt x="18857" y="16428"/>
                    </a:lnTo>
                    <a:lnTo>
                      <a:pt x="18514" y="13690"/>
                    </a:lnTo>
                    <a:lnTo>
                      <a:pt x="18171" y="13690"/>
                    </a:lnTo>
                    <a:lnTo>
                      <a:pt x="17828" y="13385"/>
                    </a:lnTo>
                    <a:lnTo>
                      <a:pt x="17485" y="12777"/>
                    </a:lnTo>
                    <a:lnTo>
                      <a:pt x="17485" y="12169"/>
                    </a:lnTo>
                    <a:lnTo>
                      <a:pt x="17142" y="11560"/>
                    </a:lnTo>
                    <a:lnTo>
                      <a:pt x="17485" y="10647"/>
                    </a:lnTo>
                    <a:lnTo>
                      <a:pt x="18857" y="7605"/>
                    </a:lnTo>
                    <a:lnTo>
                      <a:pt x="16799" y="6692"/>
                    </a:lnTo>
                    <a:lnTo>
                      <a:pt x="16114" y="6084"/>
                    </a:lnTo>
                    <a:lnTo>
                      <a:pt x="16114" y="5476"/>
                    </a:lnTo>
                    <a:lnTo>
                      <a:pt x="8228" y="608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6" name="AutoShape 160"/>
              <p:cNvSpPr>
                <a:spLocks/>
              </p:cNvSpPr>
              <p:nvPr/>
            </p:nvSpPr>
            <p:spPr bwMode="auto">
              <a:xfrm>
                <a:off x="712472" y="703946"/>
                <a:ext cx="125413" cy="22212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85" y="15894"/>
                    </a:moveTo>
                    <a:lnTo>
                      <a:pt x="1542" y="15079"/>
                    </a:lnTo>
                    <a:lnTo>
                      <a:pt x="3857" y="14264"/>
                    </a:lnTo>
                    <a:lnTo>
                      <a:pt x="5400" y="13041"/>
                    </a:lnTo>
                    <a:lnTo>
                      <a:pt x="5785" y="11411"/>
                    </a:lnTo>
                    <a:lnTo>
                      <a:pt x="5400" y="9781"/>
                    </a:lnTo>
                    <a:lnTo>
                      <a:pt x="5785" y="8354"/>
                    </a:lnTo>
                    <a:lnTo>
                      <a:pt x="3471" y="7743"/>
                    </a:lnTo>
                    <a:lnTo>
                      <a:pt x="1542" y="7335"/>
                    </a:lnTo>
                    <a:lnTo>
                      <a:pt x="1542" y="6724"/>
                    </a:lnTo>
                    <a:lnTo>
                      <a:pt x="8485" y="5909"/>
                    </a:lnTo>
                    <a:lnTo>
                      <a:pt x="8485" y="3464"/>
                    </a:lnTo>
                    <a:lnTo>
                      <a:pt x="8099" y="2649"/>
                    </a:lnTo>
                    <a:lnTo>
                      <a:pt x="8871" y="2037"/>
                    </a:lnTo>
                    <a:lnTo>
                      <a:pt x="9642" y="2852"/>
                    </a:lnTo>
                    <a:lnTo>
                      <a:pt x="10414" y="2852"/>
                    </a:lnTo>
                    <a:lnTo>
                      <a:pt x="10800" y="3464"/>
                    </a:lnTo>
                    <a:lnTo>
                      <a:pt x="11957" y="4075"/>
                    </a:lnTo>
                    <a:lnTo>
                      <a:pt x="12342" y="4075"/>
                    </a:lnTo>
                    <a:lnTo>
                      <a:pt x="12342" y="3260"/>
                    </a:lnTo>
                    <a:lnTo>
                      <a:pt x="11957" y="2649"/>
                    </a:lnTo>
                    <a:lnTo>
                      <a:pt x="11571" y="2649"/>
                    </a:lnTo>
                    <a:lnTo>
                      <a:pt x="10800" y="2241"/>
                    </a:lnTo>
                    <a:lnTo>
                      <a:pt x="10800" y="2037"/>
                    </a:lnTo>
                    <a:lnTo>
                      <a:pt x="10028" y="815"/>
                    </a:lnTo>
                    <a:lnTo>
                      <a:pt x="12342" y="815"/>
                    </a:lnTo>
                    <a:lnTo>
                      <a:pt x="13114" y="611"/>
                    </a:lnTo>
                    <a:lnTo>
                      <a:pt x="13499" y="815"/>
                    </a:lnTo>
                    <a:lnTo>
                      <a:pt x="17742" y="815"/>
                    </a:lnTo>
                    <a:lnTo>
                      <a:pt x="21214" y="0"/>
                    </a:lnTo>
                    <a:lnTo>
                      <a:pt x="21214" y="3667"/>
                    </a:lnTo>
                    <a:lnTo>
                      <a:pt x="21599" y="4075"/>
                    </a:lnTo>
                    <a:lnTo>
                      <a:pt x="21599" y="5909"/>
                    </a:lnTo>
                    <a:lnTo>
                      <a:pt x="20828" y="7132"/>
                    </a:lnTo>
                    <a:lnTo>
                      <a:pt x="19671" y="7743"/>
                    </a:lnTo>
                    <a:lnTo>
                      <a:pt x="18514" y="8150"/>
                    </a:lnTo>
                    <a:lnTo>
                      <a:pt x="17357" y="8354"/>
                    </a:lnTo>
                    <a:lnTo>
                      <a:pt x="16971" y="8354"/>
                    </a:lnTo>
                    <a:lnTo>
                      <a:pt x="15814" y="8762"/>
                    </a:lnTo>
                    <a:lnTo>
                      <a:pt x="15042" y="8966"/>
                    </a:lnTo>
                    <a:lnTo>
                      <a:pt x="13885" y="9577"/>
                    </a:lnTo>
                    <a:lnTo>
                      <a:pt x="13114" y="10188"/>
                    </a:lnTo>
                    <a:lnTo>
                      <a:pt x="11571" y="11003"/>
                    </a:lnTo>
                    <a:lnTo>
                      <a:pt x="10800" y="11207"/>
                    </a:lnTo>
                    <a:lnTo>
                      <a:pt x="9642" y="11615"/>
                    </a:lnTo>
                    <a:lnTo>
                      <a:pt x="8485" y="12837"/>
                    </a:lnTo>
                    <a:lnTo>
                      <a:pt x="8485" y="16098"/>
                    </a:lnTo>
                    <a:lnTo>
                      <a:pt x="8871" y="17116"/>
                    </a:lnTo>
                    <a:lnTo>
                      <a:pt x="8871" y="18747"/>
                    </a:lnTo>
                    <a:lnTo>
                      <a:pt x="8099" y="19154"/>
                    </a:lnTo>
                    <a:lnTo>
                      <a:pt x="5785" y="19766"/>
                    </a:lnTo>
                    <a:lnTo>
                      <a:pt x="4628" y="19969"/>
                    </a:lnTo>
                    <a:lnTo>
                      <a:pt x="3857" y="20377"/>
                    </a:lnTo>
                    <a:lnTo>
                      <a:pt x="3857" y="20988"/>
                    </a:lnTo>
                    <a:lnTo>
                      <a:pt x="4242" y="21192"/>
                    </a:lnTo>
                    <a:lnTo>
                      <a:pt x="4242" y="21396"/>
                    </a:lnTo>
                    <a:lnTo>
                      <a:pt x="3857" y="21599"/>
                    </a:lnTo>
                    <a:lnTo>
                      <a:pt x="2700" y="21599"/>
                    </a:lnTo>
                    <a:lnTo>
                      <a:pt x="2314" y="20784"/>
                    </a:lnTo>
                    <a:lnTo>
                      <a:pt x="1928" y="20173"/>
                    </a:lnTo>
                    <a:lnTo>
                      <a:pt x="1928" y="19766"/>
                    </a:lnTo>
                    <a:lnTo>
                      <a:pt x="1542" y="19562"/>
                    </a:lnTo>
                    <a:lnTo>
                      <a:pt x="1157" y="19562"/>
                    </a:lnTo>
                    <a:lnTo>
                      <a:pt x="1542" y="18543"/>
                    </a:lnTo>
                    <a:lnTo>
                      <a:pt x="1157" y="17728"/>
                    </a:lnTo>
                    <a:lnTo>
                      <a:pt x="771" y="17116"/>
                    </a:lnTo>
                    <a:lnTo>
                      <a:pt x="385" y="16709"/>
                    </a:lnTo>
                    <a:lnTo>
                      <a:pt x="0" y="16505"/>
                    </a:lnTo>
                    <a:lnTo>
                      <a:pt x="0" y="16301"/>
                    </a:lnTo>
                    <a:lnTo>
                      <a:pt x="385" y="1589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7" name="AutoShape 161"/>
              <p:cNvSpPr>
                <a:spLocks/>
              </p:cNvSpPr>
              <p:nvPr/>
            </p:nvSpPr>
            <p:spPr bwMode="auto">
              <a:xfrm>
                <a:off x="483871" y="872129"/>
                <a:ext cx="254000" cy="18404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6971" y="0"/>
                    </a:moveTo>
                    <a:lnTo>
                      <a:pt x="16778" y="490"/>
                    </a:lnTo>
                    <a:lnTo>
                      <a:pt x="16007" y="981"/>
                    </a:lnTo>
                    <a:lnTo>
                      <a:pt x="15814" y="1227"/>
                    </a:lnTo>
                    <a:lnTo>
                      <a:pt x="15621" y="1227"/>
                    </a:lnTo>
                    <a:lnTo>
                      <a:pt x="15428" y="1718"/>
                    </a:lnTo>
                    <a:lnTo>
                      <a:pt x="15235" y="1963"/>
                    </a:lnTo>
                    <a:lnTo>
                      <a:pt x="14657" y="2209"/>
                    </a:lnTo>
                    <a:lnTo>
                      <a:pt x="14271" y="2454"/>
                    </a:lnTo>
                    <a:lnTo>
                      <a:pt x="14078" y="2454"/>
                    </a:lnTo>
                    <a:lnTo>
                      <a:pt x="13885" y="2700"/>
                    </a:lnTo>
                    <a:lnTo>
                      <a:pt x="13500" y="2945"/>
                    </a:lnTo>
                    <a:lnTo>
                      <a:pt x="13114" y="3436"/>
                    </a:lnTo>
                    <a:lnTo>
                      <a:pt x="12921" y="4172"/>
                    </a:lnTo>
                    <a:lnTo>
                      <a:pt x="12342" y="5645"/>
                    </a:lnTo>
                    <a:lnTo>
                      <a:pt x="12342" y="5890"/>
                    </a:lnTo>
                    <a:lnTo>
                      <a:pt x="11957" y="5890"/>
                    </a:lnTo>
                    <a:lnTo>
                      <a:pt x="11571" y="5400"/>
                    </a:lnTo>
                    <a:lnTo>
                      <a:pt x="11378" y="5400"/>
                    </a:lnTo>
                    <a:lnTo>
                      <a:pt x="10992" y="4909"/>
                    </a:lnTo>
                    <a:lnTo>
                      <a:pt x="10221" y="4909"/>
                    </a:lnTo>
                    <a:lnTo>
                      <a:pt x="9835" y="5154"/>
                    </a:lnTo>
                    <a:lnTo>
                      <a:pt x="9642" y="5154"/>
                    </a:lnTo>
                    <a:lnTo>
                      <a:pt x="9449" y="5400"/>
                    </a:lnTo>
                    <a:lnTo>
                      <a:pt x="9449" y="5645"/>
                    </a:lnTo>
                    <a:lnTo>
                      <a:pt x="9257" y="6136"/>
                    </a:lnTo>
                    <a:lnTo>
                      <a:pt x="9064" y="6381"/>
                    </a:lnTo>
                    <a:lnTo>
                      <a:pt x="9064" y="6872"/>
                    </a:lnTo>
                    <a:lnTo>
                      <a:pt x="8485" y="7609"/>
                    </a:lnTo>
                    <a:lnTo>
                      <a:pt x="7714" y="8100"/>
                    </a:lnTo>
                    <a:lnTo>
                      <a:pt x="7135" y="8345"/>
                    </a:lnTo>
                    <a:lnTo>
                      <a:pt x="6171" y="8345"/>
                    </a:lnTo>
                    <a:lnTo>
                      <a:pt x="5978" y="7854"/>
                    </a:lnTo>
                    <a:lnTo>
                      <a:pt x="6171" y="7609"/>
                    </a:lnTo>
                    <a:lnTo>
                      <a:pt x="6364" y="7118"/>
                    </a:lnTo>
                    <a:lnTo>
                      <a:pt x="6557" y="6872"/>
                    </a:lnTo>
                    <a:lnTo>
                      <a:pt x="6557" y="6136"/>
                    </a:lnTo>
                    <a:lnTo>
                      <a:pt x="6171" y="4663"/>
                    </a:lnTo>
                    <a:lnTo>
                      <a:pt x="5785" y="4418"/>
                    </a:lnTo>
                    <a:lnTo>
                      <a:pt x="5400" y="3927"/>
                    </a:lnTo>
                    <a:lnTo>
                      <a:pt x="5207" y="3927"/>
                    </a:lnTo>
                    <a:lnTo>
                      <a:pt x="5207" y="9818"/>
                    </a:lnTo>
                    <a:lnTo>
                      <a:pt x="5014" y="9818"/>
                    </a:lnTo>
                    <a:lnTo>
                      <a:pt x="4821" y="10063"/>
                    </a:lnTo>
                    <a:lnTo>
                      <a:pt x="2507" y="10063"/>
                    </a:lnTo>
                    <a:lnTo>
                      <a:pt x="2314" y="9818"/>
                    </a:lnTo>
                    <a:lnTo>
                      <a:pt x="2121" y="9327"/>
                    </a:lnTo>
                    <a:lnTo>
                      <a:pt x="2121" y="8590"/>
                    </a:lnTo>
                    <a:lnTo>
                      <a:pt x="1928" y="8590"/>
                    </a:lnTo>
                    <a:lnTo>
                      <a:pt x="1928" y="8345"/>
                    </a:lnTo>
                    <a:lnTo>
                      <a:pt x="1542" y="8345"/>
                    </a:lnTo>
                    <a:lnTo>
                      <a:pt x="1157" y="9572"/>
                    </a:lnTo>
                    <a:lnTo>
                      <a:pt x="0" y="10063"/>
                    </a:lnTo>
                    <a:lnTo>
                      <a:pt x="771" y="13499"/>
                    </a:lnTo>
                    <a:lnTo>
                      <a:pt x="1928" y="15463"/>
                    </a:lnTo>
                    <a:lnTo>
                      <a:pt x="1928" y="19881"/>
                    </a:lnTo>
                    <a:lnTo>
                      <a:pt x="2700" y="20618"/>
                    </a:lnTo>
                    <a:lnTo>
                      <a:pt x="3664" y="21109"/>
                    </a:lnTo>
                    <a:lnTo>
                      <a:pt x="5400" y="21599"/>
                    </a:lnTo>
                    <a:lnTo>
                      <a:pt x="5785" y="21599"/>
                    </a:lnTo>
                    <a:lnTo>
                      <a:pt x="6750" y="21109"/>
                    </a:lnTo>
                    <a:lnTo>
                      <a:pt x="7907" y="20372"/>
                    </a:lnTo>
                    <a:lnTo>
                      <a:pt x="8871" y="20127"/>
                    </a:lnTo>
                    <a:lnTo>
                      <a:pt x="11185" y="20127"/>
                    </a:lnTo>
                    <a:lnTo>
                      <a:pt x="12342" y="19636"/>
                    </a:lnTo>
                    <a:lnTo>
                      <a:pt x="13692" y="18899"/>
                    </a:lnTo>
                    <a:lnTo>
                      <a:pt x="14850" y="17427"/>
                    </a:lnTo>
                    <a:lnTo>
                      <a:pt x="15042" y="16936"/>
                    </a:lnTo>
                    <a:lnTo>
                      <a:pt x="15235" y="16690"/>
                    </a:lnTo>
                    <a:lnTo>
                      <a:pt x="16778" y="14236"/>
                    </a:lnTo>
                    <a:lnTo>
                      <a:pt x="17935" y="12763"/>
                    </a:lnTo>
                    <a:lnTo>
                      <a:pt x="17935" y="12518"/>
                    </a:lnTo>
                    <a:lnTo>
                      <a:pt x="18128" y="12272"/>
                    </a:lnTo>
                    <a:lnTo>
                      <a:pt x="18321" y="11781"/>
                    </a:lnTo>
                    <a:lnTo>
                      <a:pt x="18707" y="11536"/>
                    </a:lnTo>
                    <a:lnTo>
                      <a:pt x="18899" y="11045"/>
                    </a:lnTo>
                    <a:lnTo>
                      <a:pt x="19092" y="10800"/>
                    </a:lnTo>
                    <a:lnTo>
                      <a:pt x="19092" y="10554"/>
                    </a:lnTo>
                    <a:lnTo>
                      <a:pt x="19285" y="10554"/>
                    </a:lnTo>
                    <a:lnTo>
                      <a:pt x="19478" y="10309"/>
                    </a:lnTo>
                    <a:lnTo>
                      <a:pt x="19864" y="10063"/>
                    </a:lnTo>
                    <a:lnTo>
                      <a:pt x="20828" y="8836"/>
                    </a:lnTo>
                    <a:lnTo>
                      <a:pt x="20828" y="8590"/>
                    </a:lnTo>
                    <a:lnTo>
                      <a:pt x="21021" y="8345"/>
                    </a:lnTo>
                    <a:lnTo>
                      <a:pt x="21214" y="7609"/>
                    </a:lnTo>
                    <a:lnTo>
                      <a:pt x="21599" y="6627"/>
                    </a:lnTo>
                    <a:lnTo>
                      <a:pt x="21599" y="6381"/>
                    </a:lnTo>
                    <a:lnTo>
                      <a:pt x="20635" y="6381"/>
                    </a:lnTo>
                    <a:lnTo>
                      <a:pt x="20635" y="4909"/>
                    </a:lnTo>
                    <a:lnTo>
                      <a:pt x="20250" y="3927"/>
                    </a:lnTo>
                    <a:lnTo>
                      <a:pt x="20057" y="3681"/>
                    </a:lnTo>
                    <a:lnTo>
                      <a:pt x="20250" y="3190"/>
                    </a:lnTo>
                    <a:lnTo>
                      <a:pt x="20250" y="2454"/>
                    </a:lnTo>
                    <a:lnTo>
                      <a:pt x="20057" y="1718"/>
                    </a:lnTo>
                    <a:lnTo>
                      <a:pt x="20057" y="981"/>
                    </a:lnTo>
                    <a:lnTo>
                      <a:pt x="19671" y="490"/>
                    </a:lnTo>
                    <a:lnTo>
                      <a:pt x="19478" y="0"/>
                    </a:lnTo>
                    <a:lnTo>
                      <a:pt x="16971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8" name="AutoShape 162"/>
              <p:cNvSpPr>
                <a:spLocks/>
              </p:cNvSpPr>
              <p:nvPr/>
            </p:nvSpPr>
            <p:spPr bwMode="auto">
              <a:xfrm>
                <a:off x="712472" y="903862"/>
                <a:ext cx="15875" cy="2855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6171" y="1542"/>
                    </a:moveTo>
                    <a:lnTo>
                      <a:pt x="9257" y="1542"/>
                    </a:lnTo>
                    <a:lnTo>
                      <a:pt x="9257" y="0"/>
                    </a:lnTo>
                    <a:lnTo>
                      <a:pt x="9257" y="1542"/>
                    </a:lnTo>
                    <a:lnTo>
                      <a:pt x="12342" y="1542"/>
                    </a:lnTo>
                    <a:lnTo>
                      <a:pt x="12342" y="3085"/>
                    </a:lnTo>
                    <a:lnTo>
                      <a:pt x="15428" y="4628"/>
                    </a:lnTo>
                    <a:lnTo>
                      <a:pt x="18514" y="7714"/>
                    </a:lnTo>
                    <a:lnTo>
                      <a:pt x="18514" y="10800"/>
                    </a:lnTo>
                    <a:lnTo>
                      <a:pt x="21600" y="16971"/>
                    </a:lnTo>
                    <a:lnTo>
                      <a:pt x="15428" y="20057"/>
                    </a:lnTo>
                    <a:lnTo>
                      <a:pt x="9257" y="21600"/>
                    </a:lnTo>
                    <a:lnTo>
                      <a:pt x="3085" y="18514"/>
                    </a:lnTo>
                    <a:lnTo>
                      <a:pt x="3085" y="16971"/>
                    </a:lnTo>
                    <a:lnTo>
                      <a:pt x="0" y="13885"/>
                    </a:lnTo>
                    <a:lnTo>
                      <a:pt x="0" y="6171"/>
                    </a:lnTo>
                    <a:lnTo>
                      <a:pt x="6171" y="154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99" name="AutoShape 163"/>
              <p:cNvSpPr>
                <a:spLocks/>
              </p:cNvSpPr>
              <p:nvPr/>
            </p:nvSpPr>
            <p:spPr bwMode="auto">
              <a:xfrm>
                <a:off x="647385" y="951460"/>
                <a:ext cx="23812" cy="2697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9969"/>
                    </a:moveTo>
                    <a:lnTo>
                      <a:pt x="3927" y="4984"/>
                    </a:lnTo>
                    <a:lnTo>
                      <a:pt x="3927" y="3323"/>
                    </a:lnTo>
                    <a:lnTo>
                      <a:pt x="5890" y="1661"/>
                    </a:lnTo>
                    <a:lnTo>
                      <a:pt x="7854" y="1661"/>
                    </a:lnTo>
                    <a:lnTo>
                      <a:pt x="11781" y="0"/>
                    </a:lnTo>
                    <a:lnTo>
                      <a:pt x="21600" y="6646"/>
                    </a:lnTo>
                    <a:lnTo>
                      <a:pt x="15709" y="14953"/>
                    </a:lnTo>
                    <a:lnTo>
                      <a:pt x="13745" y="16615"/>
                    </a:lnTo>
                    <a:lnTo>
                      <a:pt x="13745" y="18276"/>
                    </a:lnTo>
                    <a:lnTo>
                      <a:pt x="11781" y="19938"/>
                    </a:lnTo>
                    <a:lnTo>
                      <a:pt x="11781" y="21599"/>
                    </a:lnTo>
                    <a:lnTo>
                      <a:pt x="7854" y="21599"/>
                    </a:lnTo>
                    <a:lnTo>
                      <a:pt x="0" y="996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00" name="AutoShape 164"/>
              <p:cNvSpPr>
                <a:spLocks/>
              </p:cNvSpPr>
              <p:nvPr/>
            </p:nvSpPr>
            <p:spPr bwMode="auto">
              <a:xfrm>
                <a:off x="633097" y="770585"/>
                <a:ext cx="112713" cy="1015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5849"/>
                    </a:moveTo>
                    <a:lnTo>
                      <a:pt x="3888" y="5849"/>
                    </a:lnTo>
                    <a:lnTo>
                      <a:pt x="6480" y="4949"/>
                    </a:lnTo>
                    <a:lnTo>
                      <a:pt x="7344" y="3599"/>
                    </a:lnTo>
                    <a:lnTo>
                      <a:pt x="7776" y="2699"/>
                    </a:lnTo>
                    <a:lnTo>
                      <a:pt x="7776" y="2249"/>
                    </a:lnTo>
                    <a:lnTo>
                      <a:pt x="16848" y="0"/>
                    </a:lnTo>
                    <a:lnTo>
                      <a:pt x="16848" y="1799"/>
                    </a:lnTo>
                    <a:lnTo>
                      <a:pt x="19008" y="2699"/>
                    </a:lnTo>
                    <a:lnTo>
                      <a:pt x="21599" y="4049"/>
                    </a:lnTo>
                    <a:lnTo>
                      <a:pt x="21168" y="7199"/>
                    </a:lnTo>
                    <a:lnTo>
                      <a:pt x="21599" y="10800"/>
                    </a:lnTo>
                    <a:lnTo>
                      <a:pt x="21168" y="14400"/>
                    </a:lnTo>
                    <a:lnTo>
                      <a:pt x="19440" y="17099"/>
                    </a:lnTo>
                    <a:lnTo>
                      <a:pt x="16848" y="19349"/>
                    </a:lnTo>
                    <a:lnTo>
                      <a:pt x="15552" y="20700"/>
                    </a:lnTo>
                    <a:lnTo>
                      <a:pt x="15120" y="21600"/>
                    </a:lnTo>
                    <a:lnTo>
                      <a:pt x="9072" y="21600"/>
                    </a:lnTo>
                    <a:lnTo>
                      <a:pt x="8640" y="21150"/>
                    </a:lnTo>
                    <a:lnTo>
                      <a:pt x="8208" y="20249"/>
                    </a:lnTo>
                    <a:lnTo>
                      <a:pt x="7344" y="19799"/>
                    </a:lnTo>
                    <a:lnTo>
                      <a:pt x="6480" y="19799"/>
                    </a:lnTo>
                    <a:lnTo>
                      <a:pt x="5616" y="18899"/>
                    </a:lnTo>
                    <a:lnTo>
                      <a:pt x="5616" y="17999"/>
                    </a:lnTo>
                    <a:lnTo>
                      <a:pt x="5184" y="17099"/>
                    </a:lnTo>
                    <a:lnTo>
                      <a:pt x="4320" y="16649"/>
                    </a:lnTo>
                    <a:lnTo>
                      <a:pt x="4320" y="16199"/>
                    </a:lnTo>
                    <a:lnTo>
                      <a:pt x="3456" y="14400"/>
                    </a:lnTo>
                    <a:lnTo>
                      <a:pt x="864" y="10349"/>
                    </a:lnTo>
                    <a:lnTo>
                      <a:pt x="0" y="5849"/>
                    </a:lnTo>
                    <a:lnTo>
                      <a:pt x="0" y="6299"/>
                    </a:lnTo>
                    <a:lnTo>
                      <a:pt x="432" y="7199"/>
                    </a:lnTo>
                    <a:lnTo>
                      <a:pt x="432" y="8549"/>
                    </a:lnTo>
                    <a:lnTo>
                      <a:pt x="1296" y="11249"/>
                    </a:lnTo>
                    <a:lnTo>
                      <a:pt x="1728" y="12149"/>
                    </a:lnTo>
                    <a:lnTo>
                      <a:pt x="2592" y="13049"/>
                    </a:lnTo>
                    <a:lnTo>
                      <a:pt x="3024" y="13949"/>
                    </a:lnTo>
                    <a:lnTo>
                      <a:pt x="3456" y="14400"/>
                    </a:lnTo>
                    <a:lnTo>
                      <a:pt x="4320" y="16199"/>
                    </a:lnTo>
                    <a:lnTo>
                      <a:pt x="4320" y="16649"/>
                    </a:lnTo>
                    <a:lnTo>
                      <a:pt x="5184" y="17099"/>
                    </a:lnTo>
                    <a:lnTo>
                      <a:pt x="6048" y="18899"/>
                    </a:lnTo>
                    <a:lnTo>
                      <a:pt x="6048" y="19349"/>
                    </a:lnTo>
                    <a:lnTo>
                      <a:pt x="6480" y="19799"/>
                    </a:lnTo>
                    <a:lnTo>
                      <a:pt x="7344" y="19799"/>
                    </a:lnTo>
                    <a:lnTo>
                      <a:pt x="8208" y="20249"/>
                    </a:lnTo>
                    <a:lnTo>
                      <a:pt x="8640" y="21150"/>
                    </a:lnTo>
                    <a:lnTo>
                      <a:pt x="9072" y="21600"/>
                    </a:lnTo>
                    <a:lnTo>
                      <a:pt x="0" y="584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01" name="AutoShape 165"/>
              <p:cNvSpPr>
                <a:spLocks/>
              </p:cNvSpPr>
              <p:nvPr/>
            </p:nvSpPr>
            <p:spPr bwMode="auto">
              <a:xfrm>
                <a:off x="72709" y="183532"/>
                <a:ext cx="238125" cy="20943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668" y="0"/>
                    </a:moveTo>
                    <a:lnTo>
                      <a:pt x="7405" y="0"/>
                    </a:lnTo>
                    <a:lnTo>
                      <a:pt x="7405" y="215"/>
                    </a:lnTo>
                    <a:lnTo>
                      <a:pt x="8022" y="12312"/>
                    </a:lnTo>
                    <a:lnTo>
                      <a:pt x="8228" y="12744"/>
                    </a:lnTo>
                    <a:lnTo>
                      <a:pt x="8228" y="12960"/>
                    </a:lnTo>
                    <a:lnTo>
                      <a:pt x="8434" y="13392"/>
                    </a:lnTo>
                    <a:lnTo>
                      <a:pt x="8434" y="13824"/>
                    </a:lnTo>
                    <a:lnTo>
                      <a:pt x="7817" y="14688"/>
                    </a:lnTo>
                    <a:lnTo>
                      <a:pt x="2468" y="14040"/>
                    </a:lnTo>
                    <a:lnTo>
                      <a:pt x="2057" y="14472"/>
                    </a:lnTo>
                    <a:lnTo>
                      <a:pt x="1851" y="14472"/>
                    </a:lnTo>
                    <a:lnTo>
                      <a:pt x="1645" y="14256"/>
                    </a:lnTo>
                    <a:lnTo>
                      <a:pt x="1440" y="14256"/>
                    </a:lnTo>
                    <a:lnTo>
                      <a:pt x="1234" y="14472"/>
                    </a:lnTo>
                    <a:lnTo>
                      <a:pt x="1234" y="15552"/>
                    </a:lnTo>
                    <a:lnTo>
                      <a:pt x="822" y="15552"/>
                    </a:lnTo>
                    <a:lnTo>
                      <a:pt x="822" y="15984"/>
                    </a:lnTo>
                    <a:lnTo>
                      <a:pt x="617" y="16200"/>
                    </a:lnTo>
                    <a:lnTo>
                      <a:pt x="411" y="16632"/>
                    </a:lnTo>
                    <a:lnTo>
                      <a:pt x="0" y="16632"/>
                    </a:lnTo>
                    <a:lnTo>
                      <a:pt x="0" y="17712"/>
                    </a:lnTo>
                    <a:lnTo>
                      <a:pt x="205" y="18144"/>
                    </a:lnTo>
                    <a:lnTo>
                      <a:pt x="205" y="19008"/>
                    </a:lnTo>
                    <a:lnTo>
                      <a:pt x="411" y="19008"/>
                    </a:lnTo>
                    <a:lnTo>
                      <a:pt x="617" y="19224"/>
                    </a:lnTo>
                    <a:lnTo>
                      <a:pt x="1028" y="19224"/>
                    </a:lnTo>
                    <a:lnTo>
                      <a:pt x="1851" y="19656"/>
                    </a:lnTo>
                    <a:lnTo>
                      <a:pt x="3085" y="19656"/>
                    </a:lnTo>
                    <a:lnTo>
                      <a:pt x="3085" y="19008"/>
                    </a:lnTo>
                    <a:lnTo>
                      <a:pt x="3291" y="19008"/>
                    </a:lnTo>
                    <a:lnTo>
                      <a:pt x="3702" y="18792"/>
                    </a:lnTo>
                    <a:lnTo>
                      <a:pt x="3908" y="18792"/>
                    </a:lnTo>
                    <a:lnTo>
                      <a:pt x="4320" y="19008"/>
                    </a:lnTo>
                    <a:lnTo>
                      <a:pt x="4525" y="19224"/>
                    </a:lnTo>
                    <a:lnTo>
                      <a:pt x="4525" y="19656"/>
                    </a:lnTo>
                    <a:lnTo>
                      <a:pt x="5142" y="20952"/>
                    </a:lnTo>
                    <a:lnTo>
                      <a:pt x="5760" y="21384"/>
                    </a:lnTo>
                    <a:lnTo>
                      <a:pt x="6171" y="21600"/>
                    </a:lnTo>
                    <a:lnTo>
                      <a:pt x="6582" y="21600"/>
                    </a:lnTo>
                    <a:lnTo>
                      <a:pt x="7200" y="21384"/>
                    </a:lnTo>
                    <a:lnTo>
                      <a:pt x="7611" y="21168"/>
                    </a:lnTo>
                    <a:lnTo>
                      <a:pt x="8022" y="20736"/>
                    </a:lnTo>
                    <a:lnTo>
                      <a:pt x="8434" y="20736"/>
                    </a:lnTo>
                    <a:lnTo>
                      <a:pt x="8640" y="21168"/>
                    </a:lnTo>
                    <a:lnTo>
                      <a:pt x="8845" y="21168"/>
                    </a:lnTo>
                    <a:lnTo>
                      <a:pt x="9051" y="21384"/>
                    </a:lnTo>
                    <a:lnTo>
                      <a:pt x="9462" y="20952"/>
                    </a:lnTo>
                    <a:lnTo>
                      <a:pt x="9462" y="20520"/>
                    </a:lnTo>
                    <a:lnTo>
                      <a:pt x="9668" y="20088"/>
                    </a:lnTo>
                    <a:lnTo>
                      <a:pt x="9874" y="19440"/>
                    </a:lnTo>
                    <a:lnTo>
                      <a:pt x="10285" y="18576"/>
                    </a:lnTo>
                    <a:lnTo>
                      <a:pt x="10491" y="18360"/>
                    </a:lnTo>
                    <a:lnTo>
                      <a:pt x="10491" y="18144"/>
                    </a:lnTo>
                    <a:lnTo>
                      <a:pt x="10902" y="17928"/>
                    </a:lnTo>
                    <a:lnTo>
                      <a:pt x="11108" y="17712"/>
                    </a:lnTo>
                    <a:lnTo>
                      <a:pt x="12342" y="17712"/>
                    </a:lnTo>
                    <a:lnTo>
                      <a:pt x="14400" y="17280"/>
                    </a:lnTo>
                    <a:lnTo>
                      <a:pt x="15222" y="16848"/>
                    </a:lnTo>
                    <a:lnTo>
                      <a:pt x="15634" y="16200"/>
                    </a:lnTo>
                    <a:lnTo>
                      <a:pt x="17280" y="16200"/>
                    </a:lnTo>
                    <a:lnTo>
                      <a:pt x="18102" y="15984"/>
                    </a:lnTo>
                    <a:lnTo>
                      <a:pt x="18514" y="15984"/>
                    </a:lnTo>
                    <a:lnTo>
                      <a:pt x="19131" y="15335"/>
                    </a:lnTo>
                    <a:lnTo>
                      <a:pt x="19748" y="14904"/>
                    </a:lnTo>
                    <a:lnTo>
                      <a:pt x="20160" y="14256"/>
                    </a:lnTo>
                    <a:lnTo>
                      <a:pt x="20777" y="12960"/>
                    </a:lnTo>
                    <a:lnTo>
                      <a:pt x="20982" y="11664"/>
                    </a:lnTo>
                    <a:lnTo>
                      <a:pt x="21394" y="9936"/>
                    </a:lnTo>
                    <a:lnTo>
                      <a:pt x="21599" y="7775"/>
                    </a:lnTo>
                    <a:lnTo>
                      <a:pt x="20777" y="7991"/>
                    </a:lnTo>
                    <a:lnTo>
                      <a:pt x="20365" y="6264"/>
                    </a:lnTo>
                    <a:lnTo>
                      <a:pt x="17485" y="6264"/>
                    </a:lnTo>
                    <a:lnTo>
                      <a:pt x="9668" y="0"/>
                    </a:lnTo>
                    <a:lnTo>
                      <a:pt x="15840" y="4859"/>
                    </a:lnTo>
                    <a:lnTo>
                      <a:pt x="13062" y="2591"/>
                    </a:lnTo>
                    <a:lnTo>
                      <a:pt x="9668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02" name="AutoShape 166"/>
              <p:cNvSpPr>
                <a:spLocks/>
              </p:cNvSpPr>
              <p:nvPr/>
            </p:nvSpPr>
            <p:spPr bwMode="auto">
              <a:xfrm>
                <a:off x="625160" y="99440"/>
                <a:ext cx="155575" cy="15866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0" y="0"/>
                    </a:lnTo>
                    <a:lnTo>
                      <a:pt x="313" y="0"/>
                    </a:lnTo>
                    <a:lnTo>
                      <a:pt x="939" y="287"/>
                    </a:lnTo>
                    <a:lnTo>
                      <a:pt x="3443" y="287"/>
                    </a:lnTo>
                    <a:lnTo>
                      <a:pt x="4069" y="575"/>
                    </a:lnTo>
                    <a:lnTo>
                      <a:pt x="4382" y="575"/>
                    </a:lnTo>
                    <a:lnTo>
                      <a:pt x="4695" y="863"/>
                    </a:lnTo>
                    <a:lnTo>
                      <a:pt x="5947" y="1439"/>
                    </a:lnTo>
                    <a:lnTo>
                      <a:pt x="6886" y="1439"/>
                    </a:lnTo>
                    <a:lnTo>
                      <a:pt x="10643" y="575"/>
                    </a:lnTo>
                    <a:lnTo>
                      <a:pt x="10956" y="575"/>
                    </a:lnTo>
                    <a:lnTo>
                      <a:pt x="11269" y="287"/>
                    </a:lnTo>
                    <a:lnTo>
                      <a:pt x="11895" y="287"/>
                    </a:lnTo>
                    <a:lnTo>
                      <a:pt x="12521" y="575"/>
                    </a:lnTo>
                    <a:lnTo>
                      <a:pt x="13460" y="863"/>
                    </a:lnTo>
                    <a:lnTo>
                      <a:pt x="13460" y="2015"/>
                    </a:lnTo>
                    <a:lnTo>
                      <a:pt x="13773" y="2879"/>
                    </a:lnTo>
                    <a:lnTo>
                      <a:pt x="14399" y="3743"/>
                    </a:lnTo>
                    <a:lnTo>
                      <a:pt x="14399" y="4319"/>
                    </a:lnTo>
                    <a:lnTo>
                      <a:pt x="15339" y="5759"/>
                    </a:lnTo>
                    <a:lnTo>
                      <a:pt x="16591" y="8063"/>
                    </a:lnTo>
                    <a:lnTo>
                      <a:pt x="19095" y="13247"/>
                    </a:lnTo>
                    <a:lnTo>
                      <a:pt x="20347" y="15551"/>
                    </a:lnTo>
                    <a:lnTo>
                      <a:pt x="21286" y="17567"/>
                    </a:lnTo>
                    <a:lnTo>
                      <a:pt x="21600" y="18431"/>
                    </a:lnTo>
                    <a:lnTo>
                      <a:pt x="21600" y="18719"/>
                    </a:lnTo>
                    <a:lnTo>
                      <a:pt x="21286" y="19007"/>
                    </a:lnTo>
                    <a:lnTo>
                      <a:pt x="20660" y="19871"/>
                    </a:lnTo>
                    <a:lnTo>
                      <a:pt x="18782" y="21023"/>
                    </a:lnTo>
                    <a:lnTo>
                      <a:pt x="17217" y="21600"/>
                    </a:lnTo>
                    <a:lnTo>
                      <a:pt x="0" y="21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03" name="AutoShape 167"/>
              <p:cNvSpPr>
                <a:spLocks/>
              </p:cNvSpPr>
              <p:nvPr/>
            </p:nvSpPr>
            <p:spPr bwMode="auto">
              <a:xfrm>
                <a:off x="720410" y="104201"/>
                <a:ext cx="46037" cy="5235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0" y="4319"/>
                    </a:lnTo>
                    <a:lnTo>
                      <a:pt x="1080" y="5184"/>
                    </a:lnTo>
                    <a:lnTo>
                      <a:pt x="1080" y="6912"/>
                    </a:lnTo>
                    <a:lnTo>
                      <a:pt x="4320" y="12096"/>
                    </a:lnTo>
                    <a:lnTo>
                      <a:pt x="7559" y="14688"/>
                    </a:lnTo>
                    <a:lnTo>
                      <a:pt x="8639" y="16416"/>
                    </a:lnTo>
                    <a:lnTo>
                      <a:pt x="11880" y="18144"/>
                    </a:lnTo>
                    <a:lnTo>
                      <a:pt x="14040" y="19008"/>
                    </a:lnTo>
                    <a:lnTo>
                      <a:pt x="17279" y="21600"/>
                    </a:lnTo>
                    <a:lnTo>
                      <a:pt x="18359" y="21600"/>
                    </a:lnTo>
                    <a:lnTo>
                      <a:pt x="19439" y="20736"/>
                    </a:lnTo>
                    <a:lnTo>
                      <a:pt x="20519" y="19008"/>
                    </a:lnTo>
                    <a:lnTo>
                      <a:pt x="21599" y="13824"/>
                    </a:lnTo>
                    <a:lnTo>
                      <a:pt x="20519" y="12096"/>
                    </a:lnTo>
                    <a:lnTo>
                      <a:pt x="14040" y="3455"/>
                    </a:lnTo>
                    <a:lnTo>
                      <a:pt x="1188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04" name="AutoShape 168"/>
              <p:cNvSpPr>
                <a:spLocks/>
              </p:cNvSpPr>
              <p:nvPr/>
            </p:nvSpPr>
            <p:spPr bwMode="auto">
              <a:xfrm>
                <a:off x="877572" y="705532"/>
                <a:ext cx="96838" cy="19198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590" y="0"/>
                    </a:moveTo>
                    <a:lnTo>
                      <a:pt x="19088" y="237"/>
                    </a:lnTo>
                    <a:lnTo>
                      <a:pt x="17079" y="712"/>
                    </a:lnTo>
                    <a:lnTo>
                      <a:pt x="16074" y="1424"/>
                    </a:lnTo>
                    <a:lnTo>
                      <a:pt x="15572" y="2373"/>
                    </a:lnTo>
                    <a:lnTo>
                      <a:pt x="15069" y="2373"/>
                    </a:lnTo>
                    <a:lnTo>
                      <a:pt x="11051" y="4272"/>
                    </a:lnTo>
                    <a:lnTo>
                      <a:pt x="10046" y="4984"/>
                    </a:lnTo>
                    <a:lnTo>
                      <a:pt x="9544" y="5459"/>
                    </a:lnTo>
                    <a:lnTo>
                      <a:pt x="8539" y="5934"/>
                    </a:lnTo>
                    <a:lnTo>
                      <a:pt x="7534" y="6171"/>
                    </a:lnTo>
                    <a:lnTo>
                      <a:pt x="7032" y="6408"/>
                    </a:lnTo>
                    <a:lnTo>
                      <a:pt x="4018" y="6408"/>
                    </a:lnTo>
                    <a:lnTo>
                      <a:pt x="2511" y="7120"/>
                    </a:lnTo>
                    <a:lnTo>
                      <a:pt x="1506" y="8070"/>
                    </a:lnTo>
                    <a:lnTo>
                      <a:pt x="1506" y="10443"/>
                    </a:lnTo>
                    <a:lnTo>
                      <a:pt x="1004" y="10681"/>
                    </a:lnTo>
                    <a:lnTo>
                      <a:pt x="1506" y="10681"/>
                    </a:lnTo>
                    <a:lnTo>
                      <a:pt x="1506" y="10918"/>
                    </a:lnTo>
                    <a:lnTo>
                      <a:pt x="2009" y="10918"/>
                    </a:lnTo>
                    <a:lnTo>
                      <a:pt x="3013" y="11393"/>
                    </a:lnTo>
                    <a:lnTo>
                      <a:pt x="3516" y="11868"/>
                    </a:lnTo>
                    <a:lnTo>
                      <a:pt x="3516" y="12580"/>
                    </a:lnTo>
                    <a:lnTo>
                      <a:pt x="2009" y="13292"/>
                    </a:lnTo>
                    <a:lnTo>
                      <a:pt x="502" y="14716"/>
                    </a:lnTo>
                    <a:lnTo>
                      <a:pt x="0" y="16378"/>
                    </a:lnTo>
                    <a:lnTo>
                      <a:pt x="0" y="18276"/>
                    </a:lnTo>
                    <a:lnTo>
                      <a:pt x="1506" y="20413"/>
                    </a:lnTo>
                    <a:lnTo>
                      <a:pt x="5525" y="20413"/>
                    </a:lnTo>
                    <a:lnTo>
                      <a:pt x="5023" y="20650"/>
                    </a:lnTo>
                    <a:lnTo>
                      <a:pt x="7032" y="21599"/>
                    </a:lnTo>
                    <a:lnTo>
                      <a:pt x="10046" y="21599"/>
                    </a:lnTo>
                    <a:lnTo>
                      <a:pt x="11051" y="21125"/>
                    </a:lnTo>
                    <a:lnTo>
                      <a:pt x="11553" y="20413"/>
                    </a:lnTo>
                    <a:lnTo>
                      <a:pt x="12558" y="19463"/>
                    </a:lnTo>
                    <a:lnTo>
                      <a:pt x="14065" y="17327"/>
                    </a:lnTo>
                    <a:lnTo>
                      <a:pt x="14567" y="15903"/>
                    </a:lnTo>
                    <a:lnTo>
                      <a:pt x="15069" y="15191"/>
                    </a:lnTo>
                    <a:lnTo>
                      <a:pt x="14567" y="14953"/>
                    </a:lnTo>
                    <a:lnTo>
                      <a:pt x="14567" y="14716"/>
                    </a:lnTo>
                    <a:lnTo>
                      <a:pt x="15069" y="14241"/>
                    </a:lnTo>
                    <a:lnTo>
                      <a:pt x="15572" y="13529"/>
                    </a:lnTo>
                    <a:lnTo>
                      <a:pt x="16576" y="12817"/>
                    </a:lnTo>
                    <a:lnTo>
                      <a:pt x="17581" y="11630"/>
                    </a:lnTo>
                    <a:lnTo>
                      <a:pt x="18083" y="9731"/>
                    </a:lnTo>
                    <a:lnTo>
                      <a:pt x="19088" y="7832"/>
                    </a:lnTo>
                    <a:lnTo>
                      <a:pt x="19590" y="6408"/>
                    </a:lnTo>
                    <a:lnTo>
                      <a:pt x="19590" y="5934"/>
                    </a:lnTo>
                    <a:lnTo>
                      <a:pt x="20093" y="5221"/>
                    </a:lnTo>
                    <a:lnTo>
                      <a:pt x="20595" y="4747"/>
                    </a:lnTo>
                    <a:lnTo>
                      <a:pt x="20595" y="4035"/>
                    </a:lnTo>
                    <a:lnTo>
                      <a:pt x="21097" y="3323"/>
                    </a:lnTo>
                    <a:lnTo>
                      <a:pt x="21097" y="2373"/>
                    </a:lnTo>
                    <a:lnTo>
                      <a:pt x="21600" y="1898"/>
                    </a:lnTo>
                    <a:lnTo>
                      <a:pt x="21600" y="474"/>
                    </a:lnTo>
                    <a:lnTo>
                      <a:pt x="21097" y="237"/>
                    </a:lnTo>
                    <a:lnTo>
                      <a:pt x="1959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05" name="AutoShape 169"/>
              <p:cNvSpPr>
                <a:spLocks/>
              </p:cNvSpPr>
              <p:nvPr/>
            </p:nvSpPr>
            <p:spPr bwMode="auto">
              <a:xfrm>
                <a:off x="544197" y="789624"/>
                <a:ext cx="146050" cy="15549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8359" y="7513"/>
                    </a:moveTo>
                    <a:lnTo>
                      <a:pt x="17639" y="7513"/>
                    </a:lnTo>
                    <a:lnTo>
                      <a:pt x="17999" y="7200"/>
                    </a:lnTo>
                    <a:lnTo>
                      <a:pt x="17639" y="6886"/>
                    </a:lnTo>
                    <a:lnTo>
                      <a:pt x="17639" y="6260"/>
                    </a:lnTo>
                    <a:lnTo>
                      <a:pt x="16199" y="5008"/>
                    </a:lnTo>
                    <a:lnTo>
                      <a:pt x="16199" y="4695"/>
                    </a:lnTo>
                    <a:lnTo>
                      <a:pt x="15479" y="4069"/>
                    </a:lnTo>
                    <a:lnTo>
                      <a:pt x="15120" y="3443"/>
                    </a:lnTo>
                    <a:lnTo>
                      <a:pt x="14399" y="1565"/>
                    </a:lnTo>
                    <a:lnTo>
                      <a:pt x="14399" y="626"/>
                    </a:lnTo>
                    <a:lnTo>
                      <a:pt x="14039" y="0"/>
                    </a:lnTo>
                    <a:lnTo>
                      <a:pt x="12959" y="0"/>
                    </a:lnTo>
                    <a:lnTo>
                      <a:pt x="10079" y="1252"/>
                    </a:lnTo>
                    <a:lnTo>
                      <a:pt x="10079" y="1565"/>
                    </a:lnTo>
                    <a:lnTo>
                      <a:pt x="9360" y="626"/>
                    </a:lnTo>
                    <a:lnTo>
                      <a:pt x="8279" y="313"/>
                    </a:lnTo>
                    <a:lnTo>
                      <a:pt x="6479" y="0"/>
                    </a:lnTo>
                    <a:lnTo>
                      <a:pt x="4680" y="313"/>
                    </a:lnTo>
                    <a:lnTo>
                      <a:pt x="3239" y="313"/>
                    </a:lnTo>
                    <a:lnTo>
                      <a:pt x="2520" y="626"/>
                    </a:lnTo>
                    <a:lnTo>
                      <a:pt x="2520" y="7200"/>
                    </a:lnTo>
                    <a:lnTo>
                      <a:pt x="0" y="7513"/>
                    </a:lnTo>
                    <a:lnTo>
                      <a:pt x="0" y="15652"/>
                    </a:lnTo>
                    <a:lnTo>
                      <a:pt x="360" y="15965"/>
                    </a:lnTo>
                    <a:lnTo>
                      <a:pt x="720" y="15965"/>
                    </a:lnTo>
                    <a:lnTo>
                      <a:pt x="1800" y="16904"/>
                    </a:lnTo>
                    <a:lnTo>
                      <a:pt x="2160" y="17530"/>
                    </a:lnTo>
                    <a:lnTo>
                      <a:pt x="2520" y="18469"/>
                    </a:lnTo>
                    <a:lnTo>
                      <a:pt x="2160" y="19721"/>
                    </a:lnTo>
                    <a:lnTo>
                      <a:pt x="1440" y="20347"/>
                    </a:lnTo>
                    <a:lnTo>
                      <a:pt x="1440" y="20973"/>
                    </a:lnTo>
                    <a:lnTo>
                      <a:pt x="2160" y="21599"/>
                    </a:lnTo>
                    <a:lnTo>
                      <a:pt x="2879" y="21599"/>
                    </a:lnTo>
                    <a:lnTo>
                      <a:pt x="3600" y="21286"/>
                    </a:lnTo>
                    <a:lnTo>
                      <a:pt x="4680" y="20973"/>
                    </a:lnTo>
                    <a:lnTo>
                      <a:pt x="5759" y="20347"/>
                    </a:lnTo>
                    <a:lnTo>
                      <a:pt x="6839" y="19408"/>
                    </a:lnTo>
                    <a:lnTo>
                      <a:pt x="7200" y="19408"/>
                    </a:lnTo>
                    <a:lnTo>
                      <a:pt x="7200" y="19095"/>
                    </a:lnTo>
                    <a:lnTo>
                      <a:pt x="7560" y="18469"/>
                    </a:lnTo>
                    <a:lnTo>
                      <a:pt x="7919" y="18156"/>
                    </a:lnTo>
                    <a:lnTo>
                      <a:pt x="7919" y="17530"/>
                    </a:lnTo>
                    <a:lnTo>
                      <a:pt x="8279" y="17217"/>
                    </a:lnTo>
                    <a:lnTo>
                      <a:pt x="9000" y="17217"/>
                    </a:lnTo>
                    <a:lnTo>
                      <a:pt x="9360" y="16904"/>
                    </a:lnTo>
                    <a:lnTo>
                      <a:pt x="10079" y="16904"/>
                    </a:lnTo>
                    <a:lnTo>
                      <a:pt x="10800" y="17217"/>
                    </a:lnTo>
                    <a:lnTo>
                      <a:pt x="11519" y="17843"/>
                    </a:lnTo>
                    <a:lnTo>
                      <a:pt x="12239" y="18156"/>
                    </a:lnTo>
                    <a:lnTo>
                      <a:pt x="13319" y="18156"/>
                    </a:lnTo>
                    <a:lnTo>
                      <a:pt x="13319" y="17530"/>
                    </a:lnTo>
                    <a:lnTo>
                      <a:pt x="13679" y="16591"/>
                    </a:lnTo>
                    <a:lnTo>
                      <a:pt x="14399" y="15965"/>
                    </a:lnTo>
                    <a:lnTo>
                      <a:pt x="14759" y="15339"/>
                    </a:lnTo>
                    <a:lnTo>
                      <a:pt x="16199" y="14086"/>
                    </a:lnTo>
                    <a:lnTo>
                      <a:pt x="17639" y="13460"/>
                    </a:lnTo>
                    <a:lnTo>
                      <a:pt x="18720" y="13147"/>
                    </a:lnTo>
                    <a:lnTo>
                      <a:pt x="19799" y="12208"/>
                    </a:lnTo>
                    <a:lnTo>
                      <a:pt x="20159" y="12208"/>
                    </a:lnTo>
                    <a:lnTo>
                      <a:pt x="20879" y="11895"/>
                    </a:lnTo>
                    <a:lnTo>
                      <a:pt x="21239" y="11269"/>
                    </a:lnTo>
                    <a:lnTo>
                      <a:pt x="21599" y="10956"/>
                    </a:lnTo>
                    <a:lnTo>
                      <a:pt x="21599" y="10330"/>
                    </a:lnTo>
                    <a:lnTo>
                      <a:pt x="20879" y="9704"/>
                    </a:lnTo>
                    <a:lnTo>
                      <a:pt x="20159" y="9391"/>
                    </a:lnTo>
                    <a:lnTo>
                      <a:pt x="19799" y="9391"/>
                    </a:lnTo>
                    <a:lnTo>
                      <a:pt x="18720" y="8452"/>
                    </a:lnTo>
                    <a:lnTo>
                      <a:pt x="18359" y="7513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</p:grpSp>
        <p:grpSp>
          <p:nvGrpSpPr>
            <p:cNvPr id="8" name="Group 170"/>
            <p:cNvGrpSpPr>
              <a:grpSpLocks/>
            </p:cNvGrpSpPr>
            <p:nvPr/>
          </p:nvGrpSpPr>
          <p:grpSpPr bwMode="auto">
            <a:xfrm>
              <a:off x="6732075" y="2293350"/>
              <a:ext cx="3407184" cy="2265720"/>
              <a:chOff x="287" y="853599"/>
              <a:chExt cx="1585914" cy="974189"/>
            </a:xfrm>
            <a:grpFill/>
          </p:grpSpPr>
          <p:sp>
            <p:nvSpPr>
              <p:cNvPr id="16" name="AutoShape 171"/>
              <p:cNvSpPr>
                <a:spLocks/>
              </p:cNvSpPr>
              <p:nvPr/>
            </p:nvSpPr>
            <p:spPr bwMode="auto">
              <a:xfrm>
                <a:off x="1379826" y="1715137"/>
                <a:ext cx="138112" cy="11265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5600"/>
                    </a:moveTo>
                    <a:lnTo>
                      <a:pt x="18059" y="3599"/>
                    </a:lnTo>
                    <a:lnTo>
                      <a:pt x="16288" y="2799"/>
                    </a:lnTo>
                    <a:lnTo>
                      <a:pt x="14163" y="2799"/>
                    </a:lnTo>
                    <a:lnTo>
                      <a:pt x="12747" y="3999"/>
                    </a:lnTo>
                    <a:lnTo>
                      <a:pt x="12747" y="5600"/>
                    </a:lnTo>
                    <a:lnTo>
                      <a:pt x="12393" y="6400"/>
                    </a:lnTo>
                    <a:lnTo>
                      <a:pt x="12393" y="7200"/>
                    </a:lnTo>
                    <a:lnTo>
                      <a:pt x="11331" y="8400"/>
                    </a:lnTo>
                    <a:lnTo>
                      <a:pt x="9206" y="8400"/>
                    </a:lnTo>
                    <a:lnTo>
                      <a:pt x="8498" y="8000"/>
                    </a:lnTo>
                    <a:lnTo>
                      <a:pt x="7436" y="7599"/>
                    </a:lnTo>
                    <a:lnTo>
                      <a:pt x="7081" y="6400"/>
                    </a:lnTo>
                    <a:lnTo>
                      <a:pt x="6727" y="5600"/>
                    </a:lnTo>
                    <a:lnTo>
                      <a:pt x="6019" y="4399"/>
                    </a:lnTo>
                    <a:lnTo>
                      <a:pt x="6019" y="3599"/>
                    </a:lnTo>
                    <a:lnTo>
                      <a:pt x="5665" y="2799"/>
                    </a:lnTo>
                    <a:lnTo>
                      <a:pt x="5665" y="2399"/>
                    </a:lnTo>
                    <a:lnTo>
                      <a:pt x="5311" y="2399"/>
                    </a:lnTo>
                    <a:lnTo>
                      <a:pt x="4957" y="1999"/>
                    </a:lnTo>
                    <a:lnTo>
                      <a:pt x="4603" y="1199"/>
                    </a:lnTo>
                    <a:lnTo>
                      <a:pt x="3186" y="399"/>
                    </a:lnTo>
                    <a:lnTo>
                      <a:pt x="2124" y="0"/>
                    </a:lnTo>
                    <a:lnTo>
                      <a:pt x="1416" y="399"/>
                    </a:lnTo>
                    <a:lnTo>
                      <a:pt x="354" y="799"/>
                    </a:lnTo>
                    <a:lnTo>
                      <a:pt x="354" y="1199"/>
                    </a:lnTo>
                    <a:lnTo>
                      <a:pt x="0" y="1599"/>
                    </a:lnTo>
                    <a:lnTo>
                      <a:pt x="0" y="1999"/>
                    </a:lnTo>
                    <a:lnTo>
                      <a:pt x="354" y="2799"/>
                    </a:lnTo>
                    <a:lnTo>
                      <a:pt x="1062" y="3599"/>
                    </a:lnTo>
                    <a:lnTo>
                      <a:pt x="1770" y="5199"/>
                    </a:lnTo>
                    <a:lnTo>
                      <a:pt x="2478" y="7599"/>
                    </a:lnTo>
                    <a:lnTo>
                      <a:pt x="2478" y="8400"/>
                    </a:lnTo>
                    <a:lnTo>
                      <a:pt x="2832" y="9200"/>
                    </a:lnTo>
                    <a:lnTo>
                      <a:pt x="3540" y="10000"/>
                    </a:lnTo>
                    <a:lnTo>
                      <a:pt x="4249" y="10000"/>
                    </a:lnTo>
                    <a:lnTo>
                      <a:pt x="4957" y="9600"/>
                    </a:lnTo>
                    <a:lnTo>
                      <a:pt x="6019" y="9600"/>
                    </a:lnTo>
                    <a:lnTo>
                      <a:pt x="8144" y="10800"/>
                    </a:lnTo>
                    <a:lnTo>
                      <a:pt x="8852" y="10800"/>
                    </a:lnTo>
                    <a:lnTo>
                      <a:pt x="9914" y="11200"/>
                    </a:lnTo>
                    <a:lnTo>
                      <a:pt x="10977" y="11200"/>
                    </a:lnTo>
                    <a:lnTo>
                      <a:pt x="12039" y="11600"/>
                    </a:lnTo>
                    <a:lnTo>
                      <a:pt x="12747" y="11600"/>
                    </a:lnTo>
                    <a:lnTo>
                      <a:pt x="15580" y="14400"/>
                    </a:lnTo>
                    <a:lnTo>
                      <a:pt x="17350" y="18000"/>
                    </a:lnTo>
                    <a:lnTo>
                      <a:pt x="20183" y="20800"/>
                    </a:lnTo>
                    <a:lnTo>
                      <a:pt x="20891" y="21600"/>
                    </a:lnTo>
                    <a:lnTo>
                      <a:pt x="21599" y="5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7" name="AutoShape 172"/>
              <p:cNvSpPr>
                <a:spLocks/>
              </p:cNvSpPr>
              <p:nvPr/>
            </p:nvSpPr>
            <p:spPr bwMode="auto">
              <a:xfrm>
                <a:off x="1524288" y="866292"/>
                <a:ext cx="36513" cy="17135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7549" y="1053"/>
                    </a:moveTo>
                    <a:lnTo>
                      <a:pt x="17549" y="790"/>
                    </a:lnTo>
                    <a:lnTo>
                      <a:pt x="16200" y="790"/>
                    </a:lnTo>
                    <a:lnTo>
                      <a:pt x="14849" y="263"/>
                    </a:lnTo>
                    <a:lnTo>
                      <a:pt x="13499" y="263"/>
                    </a:lnTo>
                    <a:lnTo>
                      <a:pt x="12149" y="0"/>
                    </a:lnTo>
                    <a:lnTo>
                      <a:pt x="10800" y="263"/>
                    </a:lnTo>
                    <a:lnTo>
                      <a:pt x="5400" y="2370"/>
                    </a:lnTo>
                    <a:lnTo>
                      <a:pt x="5400" y="2897"/>
                    </a:lnTo>
                    <a:lnTo>
                      <a:pt x="1350" y="5531"/>
                    </a:lnTo>
                    <a:lnTo>
                      <a:pt x="1350" y="6058"/>
                    </a:lnTo>
                    <a:lnTo>
                      <a:pt x="2700" y="6848"/>
                    </a:lnTo>
                    <a:lnTo>
                      <a:pt x="2700" y="7375"/>
                    </a:lnTo>
                    <a:lnTo>
                      <a:pt x="4050" y="7902"/>
                    </a:lnTo>
                    <a:lnTo>
                      <a:pt x="4050" y="8692"/>
                    </a:lnTo>
                    <a:lnTo>
                      <a:pt x="5400" y="10800"/>
                    </a:lnTo>
                    <a:lnTo>
                      <a:pt x="4050" y="13170"/>
                    </a:lnTo>
                    <a:lnTo>
                      <a:pt x="4050" y="18702"/>
                    </a:lnTo>
                    <a:lnTo>
                      <a:pt x="1350" y="19756"/>
                    </a:lnTo>
                    <a:lnTo>
                      <a:pt x="0" y="20546"/>
                    </a:lnTo>
                    <a:lnTo>
                      <a:pt x="0" y="21073"/>
                    </a:lnTo>
                    <a:lnTo>
                      <a:pt x="5400" y="21600"/>
                    </a:lnTo>
                    <a:lnTo>
                      <a:pt x="8100" y="20019"/>
                    </a:lnTo>
                    <a:lnTo>
                      <a:pt x="14849" y="21336"/>
                    </a:lnTo>
                    <a:lnTo>
                      <a:pt x="14849" y="19229"/>
                    </a:lnTo>
                    <a:lnTo>
                      <a:pt x="13499" y="18439"/>
                    </a:lnTo>
                    <a:lnTo>
                      <a:pt x="10800" y="17121"/>
                    </a:lnTo>
                    <a:lnTo>
                      <a:pt x="10800" y="15541"/>
                    </a:lnTo>
                    <a:lnTo>
                      <a:pt x="16200" y="13960"/>
                    </a:lnTo>
                    <a:lnTo>
                      <a:pt x="18900" y="13434"/>
                    </a:lnTo>
                    <a:lnTo>
                      <a:pt x="21599" y="12643"/>
                    </a:lnTo>
                    <a:lnTo>
                      <a:pt x="21599" y="11590"/>
                    </a:lnTo>
                    <a:lnTo>
                      <a:pt x="20249" y="11063"/>
                    </a:lnTo>
                    <a:lnTo>
                      <a:pt x="20249" y="9746"/>
                    </a:lnTo>
                    <a:lnTo>
                      <a:pt x="17549" y="6585"/>
                    </a:lnTo>
                    <a:lnTo>
                      <a:pt x="16200" y="5268"/>
                    </a:lnTo>
                    <a:lnTo>
                      <a:pt x="16200" y="4741"/>
                    </a:lnTo>
                    <a:lnTo>
                      <a:pt x="14849" y="4214"/>
                    </a:lnTo>
                    <a:lnTo>
                      <a:pt x="14849" y="2107"/>
                    </a:lnTo>
                    <a:lnTo>
                      <a:pt x="17549" y="1053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8" name="AutoShape 173"/>
              <p:cNvSpPr>
                <a:spLocks/>
              </p:cNvSpPr>
              <p:nvPr/>
            </p:nvSpPr>
            <p:spPr bwMode="auto">
              <a:xfrm>
                <a:off x="921037" y="1400985"/>
                <a:ext cx="96838" cy="12058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4841"/>
                    </a:moveTo>
                    <a:lnTo>
                      <a:pt x="1004" y="4841"/>
                    </a:lnTo>
                    <a:lnTo>
                      <a:pt x="2009" y="5213"/>
                    </a:lnTo>
                    <a:lnTo>
                      <a:pt x="2009" y="5586"/>
                    </a:lnTo>
                    <a:lnTo>
                      <a:pt x="2511" y="5958"/>
                    </a:lnTo>
                    <a:lnTo>
                      <a:pt x="2511" y="6703"/>
                    </a:lnTo>
                    <a:lnTo>
                      <a:pt x="5023" y="6703"/>
                    </a:lnTo>
                    <a:lnTo>
                      <a:pt x="5525" y="7448"/>
                    </a:lnTo>
                    <a:lnTo>
                      <a:pt x="5525" y="8937"/>
                    </a:lnTo>
                    <a:lnTo>
                      <a:pt x="5023" y="10055"/>
                    </a:lnTo>
                    <a:lnTo>
                      <a:pt x="5023" y="10800"/>
                    </a:lnTo>
                    <a:lnTo>
                      <a:pt x="4520" y="11172"/>
                    </a:lnTo>
                    <a:lnTo>
                      <a:pt x="4520" y="11544"/>
                    </a:lnTo>
                    <a:lnTo>
                      <a:pt x="6027" y="11544"/>
                    </a:lnTo>
                    <a:lnTo>
                      <a:pt x="6530" y="11172"/>
                    </a:lnTo>
                    <a:lnTo>
                      <a:pt x="7534" y="10800"/>
                    </a:lnTo>
                    <a:lnTo>
                      <a:pt x="8037" y="10427"/>
                    </a:lnTo>
                    <a:lnTo>
                      <a:pt x="9544" y="10427"/>
                    </a:lnTo>
                    <a:lnTo>
                      <a:pt x="10046" y="10800"/>
                    </a:lnTo>
                    <a:lnTo>
                      <a:pt x="10548" y="10800"/>
                    </a:lnTo>
                    <a:lnTo>
                      <a:pt x="12558" y="12289"/>
                    </a:lnTo>
                    <a:lnTo>
                      <a:pt x="14567" y="14524"/>
                    </a:lnTo>
                    <a:lnTo>
                      <a:pt x="15069" y="15641"/>
                    </a:lnTo>
                    <a:lnTo>
                      <a:pt x="15069" y="16386"/>
                    </a:lnTo>
                    <a:lnTo>
                      <a:pt x="15572" y="17503"/>
                    </a:lnTo>
                    <a:lnTo>
                      <a:pt x="15572" y="20110"/>
                    </a:lnTo>
                    <a:lnTo>
                      <a:pt x="15069" y="20482"/>
                    </a:lnTo>
                    <a:lnTo>
                      <a:pt x="17079" y="21599"/>
                    </a:lnTo>
                    <a:lnTo>
                      <a:pt x="17581" y="21227"/>
                    </a:lnTo>
                    <a:lnTo>
                      <a:pt x="21599" y="21227"/>
                    </a:lnTo>
                    <a:lnTo>
                      <a:pt x="21599" y="18620"/>
                    </a:lnTo>
                    <a:lnTo>
                      <a:pt x="21097" y="16386"/>
                    </a:lnTo>
                    <a:lnTo>
                      <a:pt x="20093" y="14524"/>
                    </a:lnTo>
                    <a:lnTo>
                      <a:pt x="14567" y="10427"/>
                    </a:lnTo>
                    <a:lnTo>
                      <a:pt x="13562" y="10055"/>
                    </a:lnTo>
                    <a:lnTo>
                      <a:pt x="13060" y="9310"/>
                    </a:lnTo>
                    <a:lnTo>
                      <a:pt x="12055" y="8937"/>
                    </a:lnTo>
                    <a:lnTo>
                      <a:pt x="11553" y="8193"/>
                    </a:lnTo>
                    <a:lnTo>
                      <a:pt x="12055" y="7448"/>
                    </a:lnTo>
                    <a:lnTo>
                      <a:pt x="13060" y="6703"/>
                    </a:lnTo>
                    <a:lnTo>
                      <a:pt x="13060" y="6331"/>
                    </a:lnTo>
                    <a:lnTo>
                      <a:pt x="13562" y="5586"/>
                    </a:lnTo>
                    <a:lnTo>
                      <a:pt x="13562" y="4841"/>
                    </a:lnTo>
                    <a:lnTo>
                      <a:pt x="13060" y="4468"/>
                    </a:lnTo>
                    <a:lnTo>
                      <a:pt x="12558" y="3724"/>
                    </a:lnTo>
                    <a:lnTo>
                      <a:pt x="10046" y="2979"/>
                    </a:lnTo>
                    <a:lnTo>
                      <a:pt x="9544" y="744"/>
                    </a:lnTo>
                    <a:lnTo>
                      <a:pt x="9041" y="744"/>
                    </a:lnTo>
                    <a:lnTo>
                      <a:pt x="9041" y="372"/>
                    </a:lnTo>
                    <a:lnTo>
                      <a:pt x="8539" y="0"/>
                    </a:lnTo>
                    <a:lnTo>
                      <a:pt x="7032" y="0"/>
                    </a:lnTo>
                    <a:lnTo>
                      <a:pt x="6027" y="372"/>
                    </a:lnTo>
                    <a:lnTo>
                      <a:pt x="6027" y="3724"/>
                    </a:lnTo>
                    <a:lnTo>
                      <a:pt x="4520" y="3724"/>
                    </a:lnTo>
                    <a:lnTo>
                      <a:pt x="3516" y="4096"/>
                    </a:lnTo>
                    <a:lnTo>
                      <a:pt x="3013" y="4096"/>
                    </a:lnTo>
                    <a:lnTo>
                      <a:pt x="0" y="484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9" name="AutoShape 174"/>
              <p:cNvSpPr>
                <a:spLocks/>
              </p:cNvSpPr>
              <p:nvPr/>
            </p:nvSpPr>
            <p:spPr bwMode="auto">
              <a:xfrm>
                <a:off x="371762" y="1199483"/>
                <a:ext cx="227013" cy="18246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6632" y="0"/>
                    </a:moveTo>
                    <a:lnTo>
                      <a:pt x="16632" y="248"/>
                    </a:lnTo>
                    <a:lnTo>
                      <a:pt x="16200" y="248"/>
                    </a:lnTo>
                    <a:lnTo>
                      <a:pt x="15336" y="1241"/>
                    </a:lnTo>
                    <a:lnTo>
                      <a:pt x="15336" y="1737"/>
                    </a:lnTo>
                    <a:lnTo>
                      <a:pt x="13608" y="2234"/>
                    </a:lnTo>
                    <a:lnTo>
                      <a:pt x="13176" y="3475"/>
                    </a:lnTo>
                    <a:lnTo>
                      <a:pt x="12960" y="3475"/>
                    </a:lnTo>
                    <a:lnTo>
                      <a:pt x="12744" y="3724"/>
                    </a:lnTo>
                    <a:lnTo>
                      <a:pt x="12528" y="3724"/>
                    </a:lnTo>
                    <a:lnTo>
                      <a:pt x="12096" y="3972"/>
                    </a:lnTo>
                    <a:lnTo>
                      <a:pt x="11880" y="4468"/>
                    </a:lnTo>
                    <a:lnTo>
                      <a:pt x="11880" y="5710"/>
                    </a:lnTo>
                    <a:lnTo>
                      <a:pt x="9936" y="8193"/>
                    </a:lnTo>
                    <a:lnTo>
                      <a:pt x="8207" y="8193"/>
                    </a:lnTo>
                    <a:lnTo>
                      <a:pt x="7776" y="8441"/>
                    </a:lnTo>
                    <a:lnTo>
                      <a:pt x="7128" y="8689"/>
                    </a:lnTo>
                    <a:lnTo>
                      <a:pt x="6696" y="9186"/>
                    </a:lnTo>
                    <a:lnTo>
                      <a:pt x="6479" y="9682"/>
                    </a:lnTo>
                    <a:lnTo>
                      <a:pt x="5615" y="10675"/>
                    </a:lnTo>
                    <a:lnTo>
                      <a:pt x="5184" y="10924"/>
                    </a:lnTo>
                    <a:lnTo>
                      <a:pt x="4751" y="11420"/>
                    </a:lnTo>
                    <a:lnTo>
                      <a:pt x="4536" y="11420"/>
                    </a:lnTo>
                    <a:lnTo>
                      <a:pt x="4319" y="11668"/>
                    </a:lnTo>
                    <a:lnTo>
                      <a:pt x="3455" y="11917"/>
                    </a:lnTo>
                    <a:lnTo>
                      <a:pt x="2159" y="12165"/>
                    </a:lnTo>
                    <a:lnTo>
                      <a:pt x="863" y="12165"/>
                    </a:lnTo>
                    <a:lnTo>
                      <a:pt x="0" y="11917"/>
                    </a:lnTo>
                    <a:lnTo>
                      <a:pt x="1295" y="14399"/>
                    </a:lnTo>
                    <a:lnTo>
                      <a:pt x="1511" y="14896"/>
                    </a:lnTo>
                    <a:lnTo>
                      <a:pt x="1511" y="16137"/>
                    </a:lnTo>
                    <a:lnTo>
                      <a:pt x="1295" y="16386"/>
                    </a:lnTo>
                    <a:lnTo>
                      <a:pt x="863" y="16634"/>
                    </a:lnTo>
                    <a:lnTo>
                      <a:pt x="647" y="17131"/>
                    </a:lnTo>
                    <a:lnTo>
                      <a:pt x="431" y="17875"/>
                    </a:lnTo>
                    <a:lnTo>
                      <a:pt x="431" y="19117"/>
                    </a:lnTo>
                    <a:lnTo>
                      <a:pt x="863" y="20110"/>
                    </a:lnTo>
                    <a:lnTo>
                      <a:pt x="1079" y="19862"/>
                    </a:lnTo>
                    <a:lnTo>
                      <a:pt x="1511" y="19862"/>
                    </a:lnTo>
                    <a:lnTo>
                      <a:pt x="1943" y="19613"/>
                    </a:lnTo>
                    <a:lnTo>
                      <a:pt x="2375" y="19613"/>
                    </a:lnTo>
                    <a:lnTo>
                      <a:pt x="2591" y="19365"/>
                    </a:lnTo>
                    <a:lnTo>
                      <a:pt x="3239" y="19365"/>
                    </a:lnTo>
                    <a:lnTo>
                      <a:pt x="3671" y="19613"/>
                    </a:lnTo>
                    <a:lnTo>
                      <a:pt x="5615" y="19613"/>
                    </a:lnTo>
                    <a:lnTo>
                      <a:pt x="6048" y="19862"/>
                    </a:lnTo>
                    <a:lnTo>
                      <a:pt x="6479" y="19862"/>
                    </a:lnTo>
                    <a:lnTo>
                      <a:pt x="6912" y="20110"/>
                    </a:lnTo>
                    <a:lnTo>
                      <a:pt x="7128" y="20606"/>
                    </a:lnTo>
                    <a:lnTo>
                      <a:pt x="8207" y="21599"/>
                    </a:lnTo>
                    <a:lnTo>
                      <a:pt x="9936" y="19365"/>
                    </a:lnTo>
                    <a:lnTo>
                      <a:pt x="10152" y="19365"/>
                    </a:lnTo>
                    <a:lnTo>
                      <a:pt x="10368" y="19117"/>
                    </a:lnTo>
                    <a:lnTo>
                      <a:pt x="12960" y="19117"/>
                    </a:lnTo>
                    <a:lnTo>
                      <a:pt x="13176" y="16634"/>
                    </a:lnTo>
                    <a:lnTo>
                      <a:pt x="12312" y="16137"/>
                    </a:lnTo>
                    <a:lnTo>
                      <a:pt x="12312" y="15144"/>
                    </a:lnTo>
                    <a:lnTo>
                      <a:pt x="12528" y="13903"/>
                    </a:lnTo>
                    <a:lnTo>
                      <a:pt x="12960" y="12662"/>
                    </a:lnTo>
                    <a:lnTo>
                      <a:pt x="14256" y="11420"/>
                    </a:lnTo>
                    <a:lnTo>
                      <a:pt x="16416" y="10179"/>
                    </a:lnTo>
                    <a:lnTo>
                      <a:pt x="16632" y="9931"/>
                    </a:lnTo>
                    <a:lnTo>
                      <a:pt x="16848" y="9434"/>
                    </a:lnTo>
                    <a:lnTo>
                      <a:pt x="17496" y="8689"/>
                    </a:lnTo>
                    <a:lnTo>
                      <a:pt x="17712" y="8193"/>
                    </a:lnTo>
                    <a:lnTo>
                      <a:pt x="17712" y="7696"/>
                    </a:lnTo>
                    <a:lnTo>
                      <a:pt x="18576" y="7696"/>
                    </a:lnTo>
                    <a:lnTo>
                      <a:pt x="18576" y="7448"/>
                    </a:lnTo>
                    <a:lnTo>
                      <a:pt x="18360" y="7200"/>
                    </a:lnTo>
                    <a:lnTo>
                      <a:pt x="18360" y="6951"/>
                    </a:lnTo>
                    <a:lnTo>
                      <a:pt x="18576" y="6455"/>
                    </a:lnTo>
                    <a:lnTo>
                      <a:pt x="18792" y="6206"/>
                    </a:lnTo>
                    <a:lnTo>
                      <a:pt x="19008" y="5710"/>
                    </a:lnTo>
                    <a:lnTo>
                      <a:pt x="19440" y="5710"/>
                    </a:lnTo>
                    <a:lnTo>
                      <a:pt x="19872" y="5462"/>
                    </a:lnTo>
                    <a:lnTo>
                      <a:pt x="20736" y="5462"/>
                    </a:lnTo>
                    <a:lnTo>
                      <a:pt x="21168" y="5710"/>
                    </a:lnTo>
                    <a:lnTo>
                      <a:pt x="21600" y="5710"/>
                    </a:lnTo>
                    <a:lnTo>
                      <a:pt x="21600" y="5462"/>
                    </a:lnTo>
                    <a:lnTo>
                      <a:pt x="21168" y="4965"/>
                    </a:lnTo>
                    <a:lnTo>
                      <a:pt x="20736" y="4717"/>
                    </a:lnTo>
                    <a:lnTo>
                      <a:pt x="20520" y="4717"/>
                    </a:lnTo>
                    <a:lnTo>
                      <a:pt x="20088" y="4468"/>
                    </a:lnTo>
                    <a:lnTo>
                      <a:pt x="19872" y="4468"/>
                    </a:lnTo>
                    <a:lnTo>
                      <a:pt x="19656" y="4220"/>
                    </a:lnTo>
                    <a:lnTo>
                      <a:pt x="19656" y="3972"/>
                    </a:lnTo>
                    <a:lnTo>
                      <a:pt x="19440" y="3972"/>
                    </a:lnTo>
                    <a:lnTo>
                      <a:pt x="19008" y="3475"/>
                    </a:lnTo>
                    <a:lnTo>
                      <a:pt x="18576" y="3227"/>
                    </a:lnTo>
                    <a:lnTo>
                      <a:pt x="17928" y="3227"/>
                    </a:lnTo>
                    <a:lnTo>
                      <a:pt x="17280" y="3475"/>
                    </a:lnTo>
                    <a:lnTo>
                      <a:pt x="17064" y="3227"/>
                    </a:lnTo>
                    <a:lnTo>
                      <a:pt x="16848" y="2731"/>
                    </a:lnTo>
                    <a:lnTo>
                      <a:pt x="16848" y="1737"/>
                    </a:lnTo>
                    <a:lnTo>
                      <a:pt x="18576" y="0"/>
                    </a:lnTo>
                    <a:lnTo>
                      <a:pt x="16632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0" name="AutoShape 175"/>
              <p:cNvSpPr>
                <a:spLocks/>
              </p:cNvSpPr>
              <p:nvPr/>
            </p:nvSpPr>
            <p:spPr bwMode="auto">
              <a:xfrm>
                <a:off x="911512" y="1631046"/>
                <a:ext cx="77788" cy="6822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5082" y="8509"/>
                    </a:lnTo>
                    <a:lnTo>
                      <a:pt x="5717" y="9163"/>
                    </a:lnTo>
                    <a:lnTo>
                      <a:pt x="12070" y="14399"/>
                    </a:lnTo>
                    <a:lnTo>
                      <a:pt x="15882" y="17672"/>
                    </a:lnTo>
                    <a:lnTo>
                      <a:pt x="19058" y="20290"/>
                    </a:lnTo>
                    <a:lnTo>
                      <a:pt x="20964" y="21599"/>
                    </a:lnTo>
                    <a:lnTo>
                      <a:pt x="21600" y="21599"/>
                    </a:lnTo>
                    <a:lnTo>
                      <a:pt x="21600" y="18981"/>
                    </a:lnTo>
                    <a:lnTo>
                      <a:pt x="20964" y="18327"/>
                    </a:lnTo>
                    <a:lnTo>
                      <a:pt x="20964" y="17672"/>
                    </a:lnTo>
                    <a:lnTo>
                      <a:pt x="18423" y="13745"/>
                    </a:lnTo>
                    <a:lnTo>
                      <a:pt x="18423" y="11781"/>
                    </a:lnTo>
                    <a:lnTo>
                      <a:pt x="17788" y="10472"/>
                    </a:lnTo>
                    <a:lnTo>
                      <a:pt x="17788" y="8509"/>
                    </a:lnTo>
                    <a:lnTo>
                      <a:pt x="17152" y="7854"/>
                    </a:lnTo>
                    <a:lnTo>
                      <a:pt x="14611" y="3927"/>
                    </a:lnTo>
                    <a:lnTo>
                      <a:pt x="12070" y="4581"/>
                    </a:lnTo>
                    <a:lnTo>
                      <a:pt x="9529" y="1309"/>
                    </a:lnTo>
                    <a:lnTo>
                      <a:pt x="3811" y="196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1" name="AutoShape 176"/>
              <p:cNvSpPr>
                <a:spLocks/>
              </p:cNvSpPr>
              <p:nvPr/>
            </p:nvSpPr>
            <p:spPr bwMode="auto">
              <a:xfrm>
                <a:off x="755937" y="1364493"/>
                <a:ext cx="61913" cy="5870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21599"/>
                    </a:moveTo>
                    <a:lnTo>
                      <a:pt x="19199" y="16971"/>
                    </a:lnTo>
                    <a:lnTo>
                      <a:pt x="19199" y="16199"/>
                    </a:lnTo>
                    <a:lnTo>
                      <a:pt x="16000" y="14657"/>
                    </a:lnTo>
                    <a:lnTo>
                      <a:pt x="15200" y="13885"/>
                    </a:lnTo>
                    <a:lnTo>
                      <a:pt x="11200" y="13885"/>
                    </a:lnTo>
                    <a:lnTo>
                      <a:pt x="8000" y="15428"/>
                    </a:lnTo>
                    <a:lnTo>
                      <a:pt x="8000" y="16199"/>
                    </a:lnTo>
                    <a:lnTo>
                      <a:pt x="7200" y="16199"/>
                    </a:lnTo>
                    <a:lnTo>
                      <a:pt x="7200" y="16971"/>
                    </a:lnTo>
                    <a:lnTo>
                      <a:pt x="6400" y="16971"/>
                    </a:lnTo>
                    <a:lnTo>
                      <a:pt x="4800" y="17742"/>
                    </a:lnTo>
                    <a:lnTo>
                      <a:pt x="2400" y="17742"/>
                    </a:lnTo>
                    <a:lnTo>
                      <a:pt x="2400" y="11571"/>
                    </a:lnTo>
                    <a:lnTo>
                      <a:pt x="1600" y="10028"/>
                    </a:lnTo>
                    <a:lnTo>
                      <a:pt x="800" y="10028"/>
                    </a:lnTo>
                    <a:lnTo>
                      <a:pt x="800" y="9257"/>
                    </a:lnTo>
                    <a:lnTo>
                      <a:pt x="0" y="8485"/>
                    </a:lnTo>
                    <a:lnTo>
                      <a:pt x="0" y="5400"/>
                    </a:lnTo>
                    <a:lnTo>
                      <a:pt x="800" y="4628"/>
                    </a:lnTo>
                    <a:lnTo>
                      <a:pt x="800" y="3085"/>
                    </a:lnTo>
                    <a:lnTo>
                      <a:pt x="1600" y="1542"/>
                    </a:lnTo>
                    <a:lnTo>
                      <a:pt x="1600" y="771"/>
                    </a:lnTo>
                    <a:lnTo>
                      <a:pt x="2400" y="0"/>
                    </a:lnTo>
                    <a:lnTo>
                      <a:pt x="10399" y="0"/>
                    </a:lnTo>
                    <a:lnTo>
                      <a:pt x="11200" y="771"/>
                    </a:lnTo>
                    <a:lnTo>
                      <a:pt x="12000" y="2314"/>
                    </a:lnTo>
                    <a:lnTo>
                      <a:pt x="12000" y="5400"/>
                    </a:lnTo>
                    <a:lnTo>
                      <a:pt x="13600" y="10800"/>
                    </a:lnTo>
                    <a:lnTo>
                      <a:pt x="15200" y="9257"/>
                    </a:lnTo>
                    <a:lnTo>
                      <a:pt x="16000" y="7714"/>
                    </a:lnTo>
                    <a:lnTo>
                      <a:pt x="16000" y="6942"/>
                    </a:lnTo>
                    <a:lnTo>
                      <a:pt x="16800" y="5400"/>
                    </a:lnTo>
                    <a:lnTo>
                      <a:pt x="17600" y="4628"/>
                    </a:lnTo>
                    <a:lnTo>
                      <a:pt x="18399" y="4628"/>
                    </a:lnTo>
                    <a:lnTo>
                      <a:pt x="19199" y="5400"/>
                    </a:lnTo>
                    <a:lnTo>
                      <a:pt x="19199" y="6942"/>
                    </a:lnTo>
                    <a:lnTo>
                      <a:pt x="20799" y="13114"/>
                    </a:lnTo>
                    <a:lnTo>
                      <a:pt x="21599" y="17742"/>
                    </a:lnTo>
                    <a:lnTo>
                      <a:pt x="21599" y="215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2" name="AutoShape 177"/>
              <p:cNvSpPr>
                <a:spLocks/>
              </p:cNvSpPr>
              <p:nvPr/>
            </p:nvSpPr>
            <p:spPr bwMode="auto">
              <a:xfrm>
                <a:off x="813087" y="1324826"/>
                <a:ext cx="112713" cy="28559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392" y="12229"/>
                    </a:moveTo>
                    <a:lnTo>
                      <a:pt x="8640" y="13500"/>
                    </a:lnTo>
                    <a:lnTo>
                      <a:pt x="5616" y="13341"/>
                    </a:lnTo>
                    <a:lnTo>
                      <a:pt x="5616" y="11276"/>
                    </a:lnTo>
                    <a:lnTo>
                      <a:pt x="5184" y="10958"/>
                    </a:lnTo>
                    <a:lnTo>
                      <a:pt x="5184" y="10800"/>
                    </a:lnTo>
                    <a:lnTo>
                      <a:pt x="4752" y="10641"/>
                    </a:lnTo>
                    <a:lnTo>
                      <a:pt x="3888" y="10005"/>
                    </a:lnTo>
                    <a:lnTo>
                      <a:pt x="3456" y="9529"/>
                    </a:lnTo>
                    <a:lnTo>
                      <a:pt x="2592" y="9211"/>
                    </a:lnTo>
                    <a:lnTo>
                      <a:pt x="2160" y="8894"/>
                    </a:lnTo>
                    <a:lnTo>
                      <a:pt x="2160" y="8576"/>
                    </a:lnTo>
                    <a:lnTo>
                      <a:pt x="1728" y="8576"/>
                    </a:lnTo>
                    <a:lnTo>
                      <a:pt x="1296" y="8417"/>
                    </a:lnTo>
                    <a:lnTo>
                      <a:pt x="864" y="8099"/>
                    </a:lnTo>
                    <a:lnTo>
                      <a:pt x="864" y="7782"/>
                    </a:lnTo>
                    <a:lnTo>
                      <a:pt x="432" y="7464"/>
                    </a:lnTo>
                    <a:lnTo>
                      <a:pt x="432" y="7147"/>
                    </a:lnTo>
                    <a:lnTo>
                      <a:pt x="864" y="6829"/>
                    </a:lnTo>
                    <a:lnTo>
                      <a:pt x="864" y="6511"/>
                    </a:lnTo>
                    <a:lnTo>
                      <a:pt x="432" y="6194"/>
                    </a:lnTo>
                    <a:lnTo>
                      <a:pt x="432" y="6035"/>
                    </a:lnTo>
                    <a:lnTo>
                      <a:pt x="0" y="5876"/>
                    </a:lnTo>
                    <a:lnTo>
                      <a:pt x="0" y="5717"/>
                    </a:lnTo>
                    <a:lnTo>
                      <a:pt x="432" y="5558"/>
                    </a:lnTo>
                    <a:lnTo>
                      <a:pt x="864" y="5717"/>
                    </a:lnTo>
                    <a:lnTo>
                      <a:pt x="1296" y="5717"/>
                    </a:lnTo>
                    <a:lnTo>
                      <a:pt x="1728" y="5876"/>
                    </a:lnTo>
                    <a:lnTo>
                      <a:pt x="2160" y="5717"/>
                    </a:lnTo>
                    <a:lnTo>
                      <a:pt x="2160" y="5558"/>
                    </a:lnTo>
                    <a:lnTo>
                      <a:pt x="1728" y="4447"/>
                    </a:lnTo>
                    <a:lnTo>
                      <a:pt x="1296" y="4447"/>
                    </a:lnTo>
                    <a:lnTo>
                      <a:pt x="1728" y="4447"/>
                    </a:lnTo>
                    <a:lnTo>
                      <a:pt x="2160" y="4605"/>
                    </a:lnTo>
                    <a:lnTo>
                      <a:pt x="3024" y="4764"/>
                    </a:lnTo>
                    <a:lnTo>
                      <a:pt x="3456" y="4764"/>
                    </a:lnTo>
                    <a:lnTo>
                      <a:pt x="4752" y="4605"/>
                    </a:lnTo>
                    <a:lnTo>
                      <a:pt x="4752" y="4447"/>
                    </a:lnTo>
                    <a:lnTo>
                      <a:pt x="5184" y="4288"/>
                    </a:lnTo>
                    <a:lnTo>
                      <a:pt x="5616" y="4288"/>
                    </a:lnTo>
                    <a:lnTo>
                      <a:pt x="6047" y="3970"/>
                    </a:lnTo>
                    <a:lnTo>
                      <a:pt x="6047" y="3811"/>
                    </a:lnTo>
                    <a:lnTo>
                      <a:pt x="6479" y="3652"/>
                    </a:lnTo>
                    <a:lnTo>
                      <a:pt x="6912" y="3176"/>
                    </a:lnTo>
                    <a:lnTo>
                      <a:pt x="7344" y="2858"/>
                    </a:lnTo>
                    <a:lnTo>
                      <a:pt x="7775" y="2699"/>
                    </a:lnTo>
                    <a:lnTo>
                      <a:pt x="7775" y="2382"/>
                    </a:lnTo>
                    <a:lnTo>
                      <a:pt x="8640" y="2064"/>
                    </a:lnTo>
                    <a:lnTo>
                      <a:pt x="11663" y="1905"/>
                    </a:lnTo>
                    <a:lnTo>
                      <a:pt x="14255" y="0"/>
                    </a:lnTo>
                    <a:lnTo>
                      <a:pt x="15983" y="635"/>
                    </a:lnTo>
                    <a:lnTo>
                      <a:pt x="17279" y="1588"/>
                    </a:lnTo>
                    <a:lnTo>
                      <a:pt x="18143" y="2699"/>
                    </a:lnTo>
                    <a:lnTo>
                      <a:pt x="16847" y="3176"/>
                    </a:lnTo>
                    <a:lnTo>
                      <a:pt x="16415" y="4129"/>
                    </a:lnTo>
                    <a:lnTo>
                      <a:pt x="15551" y="5558"/>
                    </a:lnTo>
                    <a:lnTo>
                      <a:pt x="15551" y="5717"/>
                    </a:lnTo>
                    <a:lnTo>
                      <a:pt x="17279" y="6352"/>
                    </a:lnTo>
                    <a:lnTo>
                      <a:pt x="18143" y="6352"/>
                    </a:lnTo>
                    <a:lnTo>
                      <a:pt x="19439" y="6194"/>
                    </a:lnTo>
                    <a:lnTo>
                      <a:pt x="21599" y="6670"/>
                    </a:lnTo>
                    <a:lnTo>
                      <a:pt x="20735" y="7782"/>
                    </a:lnTo>
                    <a:lnTo>
                      <a:pt x="20303" y="7941"/>
                    </a:lnTo>
                    <a:lnTo>
                      <a:pt x="18575" y="8258"/>
                    </a:lnTo>
                    <a:lnTo>
                      <a:pt x="17711" y="8894"/>
                    </a:lnTo>
                    <a:lnTo>
                      <a:pt x="17279" y="9688"/>
                    </a:lnTo>
                    <a:lnTo>
                      <a:pt x="18143" y="10958"/>
                    </a:lnTo>
                    <a:lnTo>
                      <a:pt x="17711" y="10958"/>
                    </a:lnTo>
                    <a:lnTo>
                      <a:pt x="17279" y="11117"/>
                    </a:lnTo>
                    <a:lnTo>
                      <a:pt x="17279" y="11276"/>
                    </a:lnTo>
                    <a:lnTo>
                      <a:pt x="16847" y="11594"/>
                    </a:lnTo>
                    <a:lnTo>
                      <a:pt x="17279" y="11911"/>
                    </a:lnTo>
                    <a:lnTo>
                      <a:pt x="17279" y="13341"/>
                    </a:lnTo>
                    <a:lnTo>
                      <a:pt x="17711" y="13817"/>
                    </a:lnTo>
                    <a:lnTo>
                      <a:pt x="18143" y="14452"/>
                    </a:lnTo>
                    <a:lnTo>
                      <a:pt x="19007" y="14929"/>
                    </a:lnTo>
                    <a:lnTo>
                      <a:pt x="18143" y="16676"/>
                    </a:lnTo>
                    <a:lnTo>
                      <a:pt x="18143" y="18264"/>
                    </a:lnTo>
                    <a:lnTo>
                      <a:pt x="17711" y="19376"/>
                    </a:lnTo>
                    <a:lnTo>
                      <a:pt x="17279" y="20647"/>
                    </a:lnTo>
                    <a:lnTo>
                      <a:pt x="16415" y="21600"/>
                    </a:lnTo>
                    <a:lnTo>
                      <a:pt x="15983" y="21441"/>
                    </a:lnTo>
                    <a:lnTo>
                      <a:pt x="15551" y="20805"/>
                    </a:lnTo>
                    <a:lnTo>
                      <a:pt x="15551" y="19694"/>
                    </a:lnTo>
                    <a:lnTo>
                      <a:pt x="15983" y="17947"/>
                    </a:lnTo>
                    <a:lnTo>
                      <a:pt x="15983" y="14929"/>
                    </a:lnTo>
                    <a:lnTo>
                      <a:pt x="15119" y="13341"/>
                    </a:lnTo>
                    <a:lnTo>
                      <a:pt x="13392" y="1222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3" name="AutoShape 178"/>
              <p:cNvSpPr>
                <a:spLocks/>
              </p:cNvSpPr>
              <p:nvPr/>
            </p:nvSpPr>
            <p:spPr bwMode="auto">
              <a:xfrm>
                <a:off x="954375" y="1389879"/>
                <a:ext cx="103187" cy="17611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439" y="15942"/>
                    </a:moveTo>
                    <a:lnTo>
                      <a:pt x="13919" y="15942"/>
                    </a:lnTo>
                    <a:lnTo>
                      <a:pt x="14879" y="16457"/>
                    </a:lnTo>
                    <a:lnTo>
                      <a:pt x="15359" y="16971"/>
                    </a:lnTo>
                    <a:lnTo>
                      <a:pt x="14399" y="19285"/>
                    </a:lnTo>
                    <a:lnTo>
                      <a:pt x="11999" y="19799"/>
                    </a:lnTo>
                    <a:lnTo>
                      <a:pt x="11039" y="20314"/>
                    </a:lnTo>
                    <a:lnTo>
                      <a:pt x="10079" y="20314"/>
                    </a:lnTo>
                    <a:lnTo>
                      <a:pt x="9119" y="21600"/>
                    </a:lnTo>
                    <a:lnTo>
                      <a:pt x="11039" y="21342"/>
                    </a:lnTo>
                    <a:lnTo>
                      <a:pt x="14879" y="21600"/>
                    </a:lnTo>
                    <a:lnTo>
                      <a:pt x="15359" y="21085"/>
                    </a:lnTo>
                    <a:lnTo>
                      <a:pt x="18719" y="19285"/>
                    </a:lnTo>
                    <a:lnTo>
                      <a:pt x="20639" y="17999"/>
                    </a:lnTo>
                    <a:lnTo>
                      <a:pt x="21119" y="17228"/>
                    </a:lnTo>
                    <a:lnTo>
                      <a:pt x="21599" y="16714"/>
                    </a:lnTo>
                    <a:lnTo>
                      <a:pt x="21599" y="16199"/>
                    </a:lnTo>
                    <a:lnTo>
                      <a:pt x="21119" y="15942"/>
                    </a:lnTo>
                    <a:lnTo>
                      <a:pt x="20159" y="13114"/>
                    </a:lnTo>
                    <a:lnTo>
                      <a:pt x="20159" y="12085"/>
                    </a:lnTo>
                    <a:lnTo>
                      <a:pt x="19199" y="11057"/>
                    </a:lnTo>
                    <a:lnTo>
                      <a:pt x="18239" y="10542"/>
                    </a:lnTo>
                    <a:lnTo>
                      <a:pt x="16799" y="10028"/>
                    </a:lnTo>
                    <a:lnTo>
                      <a:pt x="14399" y="9514"/>
                    </a:lnTo>
                    <a:lnTo>
                      <a:pt x="11039" y="6942"/>
                    </a:lnTo>
                    <a:lnTo>
                      <a:pt x="11039" y="5914"/>
                    </a:lnTo>
                    <a:lnTo>
                      <a:pt x="11519" y="5657"/>
                    </a:lnTo>
                    <a:lnTo>
                      <a:pt x="11519" y="5399"/>
                    </a:lnTo>
                    <a:lnTo>
                      <a:pt x="11999" y="5142"/>
                    </a:lnTo>
                    <a:lnTo>
                      <a:pt x="12479" y="4628"/>
                    </a:lnTo>
                    <a:lnTo>
                      <a:pt x="17279" y="3342"/>
                    </a:lnTo>
                    <a:lnTo>
                      <a:pt x="16799" y="3085"/>
                    </a:lnTo>
                    <a:lnTo>
                      <a:pt x="16799" y="2828"/>
                    </a:lnTo>
                    <a:lnTo>
                      <a:pt x="16319" y="2314"/>
                    </a:lnTo>
                    <a:lnTo>
                      <a:pt x="16319" y="2057"/>
                    </a:lnTo>
                    <a:lnTo>
                      <a:pt x="14879" y="1285"/>
                    </a:lnTo>
                    <a:lnTo>
                      <a:pt x="14399" y="771"/>
                    </a:lnTo>
                    <a:lnTo>
                      <a:pt x="13439" y="514"/>
                    </a:lnTo>
                    <a:lnTo>
                      <a:pt x="11999" y="257"/>
                    </a:lnTo>
                    <a:lnTo>
                      <a:pt x="11519" y="514"/>
                    </a:lnTo>
                    <a:lnTo>
                      <a:pt x="8159" y="514"/>
                    </a:lnTo>
                    <a:lnTo>
                      <a:pt x="6719" y="257"/>
                    </a:lnTo>
                    <a:lnTo>
                      <a:pt x="5280" y="257"/>
                    </a:lnTo>
                    <a:lnTo>
                      <a:pt x="4800" y="0"/>
                    </a:lnTo>
                    <a:lnTo>
                      <a:pt x="3840" y="257"/>
                    </a:lnTo>
                    <a:lnTo>
                      <a:pt x="1920" y="257"/>
                    </a:lnTo>
                    <a:lnTo>
                      <a:pt x="960" y="514"/>
                    </a:lnTo>
                    <a:lnTo>
                      <a:pt x="480" y="514"/>
                    </a:lnTo>
                    <a:lnTo>
                      <a:pt x="0" y="771"/>
                    </a:lnTo>
                    <a:lnTo>
                      <a:pt x="0" y="1285"/>
                    </a:lnTo>
                    <a:lnTo>
                      <a:pt x="960" y="1285"/>
                    </a:lnTo>
                    <a:lnTo>
                      <a:pt x="1920" y="1799"/>
                    </a:lnTo>
                    <a:lnTo>
                      <a:pt x="2400" y="3342"/>
                    </a:lnTo>
                    <a:lnTo>
                      <a:pt x="4800" y="3857"/>
                    </a:lnTo>
                    <a:lnTo>
                      <a:pt x="5280" y="4371"/>
                    </a:lnTo>
                    <a:lnTo>
                      <a:pt x="5759" y="4628"/>
                    </a:lnTo>
                    <a:lnTo>
                      <a:pt x="5759" y="5142"/>
                    </a:lnTo>
                    <a:lnTo>
                      <a:pt x="5280" y="5657"/>
                    </a:lnTo>
                    <a:lnTo>
                      <a:pt x="5280" y="5914"/>
                    </a:lnTo>
                    <a:lnTo>
                      <a:pt x="4320" y="6428"/>
                    </a:lnTo>
                    <a:lnTo>
                      <a:pt x="3840" y="6942"/>
                    </a:lnTo>
                    <a:lnTo>
                      <a:pt x="4320" y="7457"/>
                    </a:lnTo>
                    <a:lnTo>
                      <a:pt x="5280" y="7714"/>
                    </a:lnTo>
                    <a:lnTo>
                      <a:pt x="5759" y="8228"/>
                    </a:lnTo>
                    <a:lnTo>
                      <a:pt x="6719" y="8485"/>
                    </a:lnTo>
                    <a:lnTo>
                      <a:pt x="11999" y="11314"/>
                    </a:lnTo>
                    <a:lnTo>
                      <a:pt x="13439" y="13628"/>
                    </a:lnTo>
                    <a:lnTo>
                      <a:pt x="13439" y="1594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4" name="AutoShape 179"/>
              <p:cNvSpPr>
                <a:spLocks/>
              </p:cNvSpPr>
              <p:nvPr/>
            </p:nvSpPr>
            <p:spPr bwMode="auto">
              <a:xfrm>
                <a:off x="898812" y="1427958"/>
                <a:ext cx="92075" cy="21736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5268" y="0"/>
                    </a:moveTo>
                    <a:lnTo>
                      <a:pt x="4741" y="207"/>
                    </a:lnTo>
                    <a:lnTo>
                      <a:pt x="2634" y="623"/>
                    </a:lnTo>
                    <a:lnTo>
                      <a:pt x="1580" y="1453"/>
                    </a:lnTo>
                    <a:lnTo>
                      <a:pt x="1053" y="2492"/>
                    </a:lnTo>
                    <a:lnTo>
                      <a:pt x="2107" y="4153"/>
                    </a:lnTo>
                    <a:lnTo>
                      <a:pt x="1580" y="4153"/>
                    </a:lnTo>
                    <a:lnTo>
                      <a:pt x="1053" y="4361"/>
                    </a:lnTo>
                    <a:lnTo>
                      <a:pt x="1053" y="4569"/>
                    </a:lnTo>
                    <a:lnTo>
                      <a:pt x="526" y="4984"/>
                    </a:lnTo>
                    <a:lnTo>
                      <a:pt x="1053" y="5399"/>
                    </a:lnTo>
                    <a:lnTo>
                      <a:pt x="1053" y="7269"/>
                    </a:lnTo>
                    <a:lnTo>
                      <a:pt x="1580" y="7892"/>
                    </a:lnTo>
                    <a:lnTo>
                      <a:pt x="2107" y="8723"/>
                    </a:lnTo>
                    <a:lnTo>
                      <a:pt x="3160" y="9346"/>
                    </a:lnTo>
                    <a:lnTo>
                      <a:pt x="2107" y="11630"/>
                    </a:lnTo>
                    <a:lnTo>
                      <a:pt x="2107" y="13707"/>
                    </a:lnTo>
                    <a:lnTo>
                      <a:pt x="1580" y="15161"/>
                    </a:lnTo>
                    <a:lnTo>
                      <a:pt x="1053" y="16823"/>
                    </a:lnTo>
                    <a:lnTo>
                      <a:pt x="0" y="18069"/>
                    </a:lnTo>
                    <a:lnTo>
                      <a:pt x="0" y="18276"/>
                    </a:lnTo>
                    <a:lnTo>
                      <a:pt x="526" y="18484"/>
                    </a:lnTo>
                    <a:lnTo>
                      <a:pt x="1053" y="18900"/>
                    </a:lnTo>
                    <a:lnTo>
                      <a:pt x="2107" y="19315"/>
                    </a:lnTo>
                    <a:lnTo>
                      <a:pt x="3160" y="19938"/>
                    </a:lnTo>
                    <a:lnTo>
                      <a:pt x="6321" y="20769"/>
                    </a:lnTo>
                    <a:lnTo>
                      <a:pt x="11063" y="20561"/>
                    </a:lnTo>
                    <a:lnTo>
                      <a:pt x="13170" y="21600"/>
                    </a:lnTo>
                    <a:lnTo>
                      <a:pt x="15278" y="21392"/>
                    </a:lnTo>
                    <a:lnTo>
                      <a:pt x="12117" y="19938"/>
                    </a:lnTo>
                    <a:lnTo>
                      <a:pt x="5268" y="17238"/>
                    </a:lnTo>
                    <a:lnTo>
                      <a:pt x="4214" y="16407"/>
                    </a:lnTo>
                    <a:lnTo>
                      <a:pt x="3687" y="15369"/>
                    </a:lnTo>
                    <a:lnTo>
                      <a:pt x="4214" y="13707"/>
                    </a:lnTo>
                    <a:lnTo>
                      <a:pt x="4741" y="13292"/>
                    </a:lnTo>
                    <a:lnTo>
                      <a:pt x="5268" y="12461"/>
                    </a:lnTo>
                    <a:lnTo>
                      <a:pt x="5795" y="11215"/>
                    </a:lnTo>
                    <a:lnTo>
                      <a:pt x="6321" y="10176"/>
                    </a:lnTo>
                    <a:lnTo>
                      <a:pt x="6321" y="9346"/>
                    </a:lnTo>
                    <a:lnTo>
                      <a:pt x="6848" y="9138"/>
                    </a:lnTo>
                    <a:lnTo>
                      <a:pt x="6848" y="8723"/>
                    </a:lnTo>
                    <a:lnTo>
                      <a:pt x="7375" y="8515"/>
                    </a:lnTo>
                    <a:lnTo>
                      <a:pt x="8429" y="8515"/>
                    </a:lnTo>
                    <a:lnTo>
                      <a:pt x="8429" y="8930"/>
                    </a:lnTo>
                    <a:lnTo>
                      <a:pt x="8956" y="9346"/>
                    </a:lnTo>
                    <a:lnTo>
                      <a:pt x="8956" y="9761"/>
                    </a:lnTo>
                    <a:lnTo>
                      <a:pt x="11063" y="11423"/>
                    </a:lnTo>
                    <a:lnTo>
                      <a:pt x="12643" y="12046"/>
                    </a:lnTo>
                    <a:lnTo>
                      <a:pt x="12643" y="11630"/>
                    </a:lnTo>
                    <a:lnTo>
                      <a:pt x="12117" y="10592"/>
                    </a:lnTo>
                    <a:lnTo>
                      <a:pt x="12643" y="9553"/>
                    </a:lnTo>
                    <a:lnTo>
                      <a:pt x="14751" y="8723"/>
                    </a:lnTo>
                    <a:lnTo>
                      <a:pt x="14751" y="8515"/>
                    </a:lnTo>
                    <a:lnTo>
                      <a:pt x="15804" y="8515"/>
                    </a:lnTo>
                    <a:lnTo>
                      <a:pt x="16858" y="8307"/>
                    </a:lnTo>
                    <a:lnTo>
                      <a:pt x="17912" y="8307"/>
                    </a:lnTo>
                    <a:lnTo>
                      <a:pt x="21073" y="8723"/>
                    </a:lnTo>
                    <a:lnTo>
                      <a:pt x="21599" y="8515"/>
                    </a:lnTo>
                    <a:lnTo>
                      <a:pt x="21599" y="7061"/>
                    </a:lnTo>
                    <a:lnTo>
                      <a:pt x="21073" y="6438"/>
                    </a:lnTo>
                    <a:lnTo>
                      <a:pt x="21073" y="6023"/>
                    </a:lnTo>
                    <a:lnTo>
                      <a:pt x="20546" y="5399"/>
                    </a:lnTo>
                    <a:lnTo>
                      <a:pt x="18439" y="4153"/>
                    </a:lnTo>
                    <a:lnTo>
                      <a:pt x="16331" y="3323"/>
                    </a:lnTo>
                    <a:lnTo>
                      <a:pt x="15804" y="3323"/>
                    </a:lnTo>
                    <a:lnTo>
                      <a:pt x="15278" y="3115"/>
                    </a:lnTo>
                    <a:lnTo>
                      <a:pt x="13697" y="3115"/>
                    </a:lnTo>
                    <a:lnTo>
                      <a:pt x="13170" y="3323"/>
                    </a:lnTo>
                    <a:lnTo>
                      <a:pt x="12117" y="3530"/>
                    </a:lnTo>
                    <a:lnTo>
                      <a:pt x="11590" y="3738"/>
                    </a:lnTo>
                    <a:lnTo>
                      <a:pt x="10009" y="3738"/>
                    </a:lnTo>
                    <a:lnTo>
                      <a:pt x="10009" y="3530"/>
                    </a:lnTo>
                    <a:lnTo>
                      <a:pt x="10536" y="3323"/>
                    </a:lnTo>
                    <a:lnTo>
                      <a:pt x="10536" y="2907"/>
                    </a:lnTo>
                    <a:lnTo>
                      <a:pt x="11063" y="2284"/>
                    </a:lnTo>
                    <a:lnTo>
                      <a:pt x="11063" y="1453"/>
                    </a:lnTo>
                    <a:lnTo>
                      <a:pt x="10536" y="1038"/>
                    </a:lnTo>
                    <a:lnTo>
                      <a:pt x="7902" y="1038"/>
                    </a:lnTo>
                    <a:lnTo>
                      <a:pt x="7902" y="623"/>
                    </a:lnTo>
                    <a:lnTo>
                      <a:pt x="7375" y="415"/>
                    </a:lnTo>
                    <a:lnTo>
                      <a:pt x="7375" y="207"/>
                    </a:lnTo>
                    <a:lnTo>
                      <a:pt x="6321" y="0"/>
                    </a:lnTo>
                    <a:lnTo>
                      <a:pt x="5268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5" name="AutoShape 180"/>
              <p:cNvSpPr>
                <a:spLocks/>
              </p:cNvSpPr>
              <p:nvPr/>
            </p:nvSpPr>
            <p:spPr bwMode="auto">
              <a:xfrm>
                <a:off x="752762" y="1312133"/>
                <a:ext cx="77788" cy="3966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7897" y="21599"/>
                    </a:moveTo>
                    <a:lnTo>
                      <a:pt x="10491" y="20463"/>
                    </a:lnTo>
                    <a:lnTo>
                      <a:pt x="5554" y="20463"/>
                    </a:lnTo>
                    <a:lnTo>
                      <a:pt x="3085" y="21599"/>
                    </a:lnTo>
                    <a:lnTo>
                      <a:pt x="617" y="21599"/>
                    </a:lnTo>
                    <a:lnTo>
                      <a:pt x="0" y="20463"/>
                    </a:lnTo>
                    <a:lnTo>
                      <a:pt x="0" y="18189"/>
                    </a:lnTo>
                    <a:lnTo>
                      <a:pt x="1234" y="9094"/>
                    </a:lnTo>
                    <a:lnTo>
                      <a:pt x="2468" y="7957"/>
                    </a:lnTo>
                    <a:lnTo>
                      <a:pt x="3085" y="5684"/>
                    </a:lnTo>
                    <a:lnTo>
                      <a:pt x="4937" y="3410"/>
                    </a:lnTo>
                    <a:lnTo>
                      <a:pt x="6171" y="2273"/>
                    </a:lnTo>
                    <a:lnTo>
                      <a:pt x="9874" y="0"/>
                    </a:lnTo>
                    <a:lnTo>
                      <a:pt x="15428" y="1136"/>
                    </a:lnTo>
                    <a:lnTo>
                      <a:pt x="19748" y="2273"/>
                    </a:lnTo>
                    <a:lnTo>
                      <a:pt x="21599" y="6821"/>
                    </a:lnTo>
                    <a:lnTo>
                      <a:pt x="17897" y="215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6" name="AutoShape 181"/>
              <p:cNvSpPr>
                <a:spLocks/>
              </p:cNvSpPr>
              <p:nvPr/>
            </p:nvSpPr>
            <p:spPr bwMode="auto">
              <a:xfrm>
                <a:off x="636875" y="1289921"/>
                <a:ext cx="109537" cy="5394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763" y="0"/>
                    </a:moveTo>
                    <a:lnTo>
                      <a:pt x="440" y="2492"/>
                    </a:lnTo>
                    <a:lnTo>
                      <a:pt x="0" y="4153"/>
                    </a:lnTo>
                    <a:lnTo>
                      <a:pt x="0" y="4984"/>
                    </a:lnTo>
                    <a:lnTo>
                      <a:pt x="440" y="6646"/>
                    </a:lnTo>
                    <a:lnTo>
                      <a:pt x="1763" y="8307"/>
                    </a:lnTo>
                    <a:lnTo>
                      <a:pt x="1763" y="9138"/>
                    </a:lnTo>
                    <a:lnTo>
                      <a:pt x="2204" y="9138"/>
                    </a:lnTo>
                    <a:lnTo>
                      <a:pt x="2204" y="9969"/>
                    </a:lnTo>
                    <a:lnTo>
                      <a:pt x="3967" y="13292"/>
                    </a:lnTo>
                    <a:lnTo>
                      <a:pt x="5730" y="14953"/>
                    </a:lnTo>
                    <a:lnTo>
                      <a:pt x="9257" y="17446"/>
                    </a:lnTo>
                    <a:lnTo>
                      <a:pt x="14106" y="19938"/>
                    </a:lnTo>
                    <a:lnTo>
                      <a:pt x="21159" y="21600"/>
                    </a:lnTo>
                    <a:lnTo>
                      <a:pt x="21599" y="14123"/>
                    </a:lnTo>
                    <a:lnTo>
                      <a:pt x="18073" y="13292"/>
                    </a:lnTo>
                    <a:lnTo>
                      <a:pt x="7934" y="9138"/>
                    </a:lnTo>
                    <a:lnTo>
                      <a:pt x="5289" y="4984"/>
                    </a:lnTo>
                    <a:lnTo>
                      <a:pt x="1763" y="0"/>
                    </a:lnTo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7" name="AutoShape 182"/>
              <p:cNvSpPr>
                <a:spLocks/>
              </p:cNvSpPr>
              <p:nvPr/>
            </p:nvSpPr>
            <p:spPr bwMode="auto">
              <a:xfrm>
                <a:off x="457487" y="1207416"/>
                <a:ext cx="427038" cy="39031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085" y="8012"/>
                    </a:moveTo>
                    <a:lnTo>
                      <a:pt x="14857" y="7780"/>
                    </a:lnTo>
                    <a:lnTo>
                      <a:pt x="14857" y="7548"/>
                    </a:lnTo>
                    <a:lnTo>
                      <a:pt x="14971" y="7432"/>
                    </a:lnTo>
                    <a:lnTo>
                      <a:pt x="14971" y="7083"/>
                    </a:lnTo>
                    <a:lnTo>
                      <a:pt x="15085" y="6851"/>
                    </a:lnTo>
                    <a:lnTo>
                      <a:pt x="15085" y="6387"/>
                    </a:lnTo>
                    <a:lnTo>
                      <a:pt x="14742" y="6387"/>
                    </a:lnTo>
                    <a:lnTo>
                      <a:pt x="14742" y="6503"/>
                    </a:lnTo>
                    <a:lnTo>
                      <a:pt x="14628" y="6503"/>
                    </a:lnTo>
                    <a:lnTo>
                      <a:pt x="14628" y="6967"/>
                    </a:lnTo>
                    <a:lnTo>
                      <a:pt x="14514" y="7083"/>
                    </a:lnTo>
                    <a:lnTo>
                      <a:pt x="14514" y="7548"/>
                    </a:lnTo>
                    <a:lnTo>
                      <a:pt x="12914" y="7316"/>
                    </a:lnTo>
                    <a:lnTo>
                      <a:pt x="12457" y="7083"/>
                    </a:lnTo>
                    <a:lnTo>
                      <a:pt x="11771" y="6967"/>
                    </a:lnTo>
                    <a:lnTo>
                      <a:pt x="11200" y="6851"/>
                    </a:lnTo>
                    <a:lnTo>
                      <a:pt x="10971" y="6735"/>
                    </a:lnTo>
                    <a:lnTo>
                      <a:pt x="10285" y="6503"/>
                    </a:lnTo>
                    <a:lnTo>
                      <a:pt x="9828" y="6038"/>
                    </a:lnTo>
                    <a:lnTo>
                      <a:pt x="9600" y="5922"/>
                    </a:lnTo>
                    <a:lnTo>
                      <a:pt x="9600" y="5690"/>
                    </a:lnTo>
                    <a:lnTo>
                      <a:pt x="9485" y="5690"/>
                    </a:lnTo>
                    <a:lnTo>
                      <a:pt x="9257" y="5458"/>
                    </a:lnTo>
                    <a:lnTo>
                      <a:pt x="9142" y="5225"/>
                    </a:lnTo>
                    <a:lnTo>
                      <a:pt x="9028" y="5109"/>
                    </a:lnTo>
                    <a:lnTo>
                      <a:pt x="9142" y="4877"/>
                    </a:lnTo>
                    <a:lnTo>
                      <a:pt x="9485" y="4529"/>
                    </a:lnTo>
                    <a:lnTo>
                      <a:pt x="9257" y="4180"/>
                    </a:lnTo>
                    <a:lnTo>
                      <a:pt x="9142" y="3716"/>
                    </a:lnTo>
                    <a:lnTo>
                      <a:pt x="9142" y="3367"/>
                    </a:lnTo>
                    <a:lnTo>
                      <a:pt x="9257" y="3019"/>
                    </a:lnTo>
                    <a:lnTo>
                      <a:pt x="9485" y="2554"/>
                    </a:lnTo>
                    <a:lnTo>
                      <a:pt x="9714" y="2438"/>
                    </a:lnTo>
                    <a:lnTo>
                      <a:pt x="9828" y="2322"/>
                    </a:lnTo>
                    <a:lnTo>
                      <a:pt x="9942" y="2322"/>
                    </a:lnTo>
                    <a:lnTo>
                      <a:pt x="9600" y="1625"/>
                    </a:lnTo>
                    <a:lnTo>
                      <a:pt x="9942" y="1277"/>
                    </a:lnTo>
                    <a:lnTo>
                      <a:pt x="9828" y="1161"/>
                    </a:lnTo>
                    <a:lnTo>
                      <a:pt x="9714" y="812"/>
                    </a:lnTo>
                    <a:lnTo>
                      <a:pt x="9714" y="348"/>
                    </a:lnTo>
                    <a:lnTo>
                      <a:pt x="9600" y="348"/>
                    </a:lnTo>
                    <a:lnTo>
                      <a:pt x="9600" y="116"/>
                    </a:lnTo>
                    <a:lnTo>
                      <a:pt x="9371" y="0"/>
                    </a:lnTo>
                    <a:lnTo>
                      <a:pt x="8571" y="0"/>
                    </a:lnTo>
                    <a:lnTo>
                      <a:pt x="8342" y="116"/>
                    </a:lnTo>
                    <a:lnTo>
                      <a:pt x="8228" y="116"/>
                    </a:lnTo>
                    <a:lnTo>
                      <a:pt x="8000" y="348"/>
                    </a:lnTo>
                    <a:lnTo>
                      <a:pt x="8000" y="464"/>
                    </a:lnTo>
                    <a:lnTo>
                      <a:pt x="7885" y="696"/>
                    </a:lnTo>
                    <a:lnTo>
                      <a:pt x="7199" y="812"/>
                    </a:lnTo>
                    <a:lnTo>
                      <a:pt x="6857" y="812"/>
                    </a:lnTo>
                    <a:lnTo>
                      <a:pt x="6514" y="929"/>
                    </a:lnTo>
                    <a:lnTo>
                      <a:pt x="6285" y="1045"/>
                    </a:lnTo>
                    <a:lnTo>
                      <a:pt x="6057" y="1277"/>
                    </a:lnTo>
                    <a:lnTo>
                      <a:pt x="6057" y="1509"/>
                    </a:lnTo>
                    <a:lnTo>
                      <a:pt x="6171" y="1509"/>
                    </a:lnTo>
                    <a:lnTo>
                      <a:pt x="6400" y="1625"/>
                    </a:lnTo>
                    <a:lnTo>
                      <a:pt x="6742" y="1625"/>
                    </a:lnTo>
                    <a:lnTo>
                      <a:pt x="6857" y="1741"/>
                    </a:lnTo>
                    <a:lnTo>
                      <a:pt x="7085" y="1858"/>
                    </a:lnTo>
                    <a:lnTo>
                      <a:pt x="7085" y="2206"/>
                    </a:lnTo>
                    <a:lnTo>
                      <a:pt x="6971" y="2090"/>
                    </a:lnTo>
                    <a:lnTo>
                      <a:pt x="6171" y="2090"/>
                    </a:lnTo>
                    <a:lnTo>
                      <a:pt x="6057" y="2206"/>
                    </a:lnTo>
                    <a:lnTo>
                      <a:pt x="5828" y="2206"/>
                    </a:lnTo>
                    <a:lnTo>
                      <a:pt x="5600" y="2322"/>
                    </a:lnTo>
                    <a:lnTo>
                      <a:pt x="5485" y="2554"/>
                    </a:lnTo>
                    <a:lnTo>
                      <a:pt x="5485" y="3135"/>
                    </a:lnTo>
                    <a:lnTo>
                      <a:pt x="5142" y="3135"/>
                    </a:lnTo>
                    <a:lnTo>
                      <a:pt x="5142" y="3367"/>
                    </a:lnTo>
                    <a:lnTo>
                      <a:pt x="4800" y="3716"/>
                    </a:lnTo>
                    <a:lnTo>
                      <a:pt x="4685" y="3948"/>
                    </a:lnTo>
                    <a:lnTo>
                      <a:pt x="4457" y="4064"/>
                    </a:lnTo>
                    <a:lnTo>
                      <a:pt x="4342" y="4180"/>
                    </a:lnTo>
                    <a:lnTo>
                      <a:pt x="4342" y="4296"/>
                    </a:lnTo>
                    <a:lnTo>
                      <a:pt x="3314" y="4877"/>
                    </a:lnTo>
                    <a:lnTo>
                      <a:pt x="2628" y="5458"/>
                    </a:lnTo>
                    <a:lnTo>
                      <a:pt x="2285" y="6038"/>
                    </a:lnTo>
                    <a:lnTo>
                      <a:pt x="2171" y="6503"/>
                    </a:lnTo>
                    <a:lnTo>
                      <a:pt x="2171" y="6851"/>
                    </a:lnTo>
                    <a:lnTo>
                      <a:pt x="2285" y="7083"/>
                    </a:lnTo>
                    <a:lnTo>
                      <a:pt x="2742" y="7316"/>
                    </a:lnTo>
                    <a:lnTo>
                      <a:pt x="2514" y="8477"/>
                    </a:lnTo>
                    <a:lnTo>
                      <a:pt x="1142" y="8477"/>
                    </a:lnTo>
                    <a:lnTo>
                      <a:pt x="1028" y="8593"/>
                    </a:lnTo>
                    <a:lnTo>
                      <a:pt x="914" y="8593"/>
                    </a:lnTo>
                    <a:lnTo>
                      <a:pt x="0" y="9638"/>
                    </a:lnTo>
                    <a:lnTo>
                      <a:pt x="114" y="9754"/>
                    </a:lnTo>
                    <a:lnTo>
                      <a:pt x="342" y="9870"/>
                    </a:lnTo>
                    <a:lnTo>
                      <a:pt x="1028" y="9870"/>
                    </a:lnTo>
                    <a:lnTo>
                      <a:pt x="1371" y="9754"/>
                    </a:lnTo>
                    <a:lnTo>
                      <a:pt x="1485" y="9754"/>
                    </a:lnTo>
                    <a:lnTo>
                      <a:pt x="1600" y="9638"/>
                    </a:lnTo>
                    <a:lnTo>
                      <a:pt x="2057" y="9638"/>
                    </a:lnTo>
                    <a:lnTo>
                      <a:pt x="2057" y="9754"/>
                    </a:lnTo>
                    <a:lnTo>
                      <a:pt x="1942" y="9870"/>
                    </a:lnTo>
                    <a:lnTo>
                      <a:pt x="1828" y="10219"/>
                    </a:lnTo>
                    <a:lnTo>
                      <a:pt x="1142" y="10916"/>
                    </a:lnTo>
                    <a:lnTo>
                      <a:pt x="914" y="11032"/>
                    </a:lnTo>
                    <a:lnTo>
                      <a:pt x="914" y="11264"/>
                    </a:lnTo>
                    <a:lnTo>
                      <a:pt x="1142" y="11729"/>
                    </a:lnTo>
                    <a:lnTo>
                      <a:pt x="1371" y="11961"/>
                    </a:lnTo>
                    <a:lnTo>
                      <a:pt x="1714" y="12193"/>
                    </a:lnTo>
                    <a:lnTo>
                      <a:pt x="2171" y="12425"/>
                    </a:lnTo>
                    <a:lnTo>
                      <a:pt x="2514" y="12425"/>
                    </a:lnTo>
                    <a:lnTo>
                      <a:pt x="2628" y="12193"/>
                    </a:lnTo>
                    <a:lnTo>
                      <a:pt x="2857" y="11961"/>
                    </a:lnTo>
                    <a:lnTo>
                      <a:pt x="2857" y="11612"/>
                    </a:lnTo>
                    <a:lnTo>
                      <a:pt x="2971" y="11380"/>
                    </a:lnTo>
                    <a:lnTo>
                      <a:pt x="3085" y="11264"/>
                    </a:lnTo>
                    <a:lnTo>
                      <a:pt x="3314" y="11148"/>
                    </a:lnTo>
                    <a:lnTo>
                      <a:pt x="3314" y="11264"/>
                    </a:lnTo>
                    <a:lnTo>
                      <a:pt x="3200" y="11380"/>
                    </a:lnTo>
                    <a:lnTo>
                      <a:pt x="3200" y="11845"/>
                    </a:lnTo>
                    <a:lnTo>
                      <a:pt x="3314" y="11961"/>
                    </a:lnTo>
                    <a:lnTo>
                      <a:pt x="3314" y="12077"/>
                    </a:lnTo>
                    <a:lnTo>
                      <a:pt x="3200" y="12193"/>
                    </a:lnTo>
                    <a:lnTo>
                      <a:pt x="3200" y="13238"/>
                    </a:lnTo>
                    <a:lnTo>
                      <a:pt x="3428" y="14980"/>
                    </a:lnTo>
                    <a:lnTo>
                      <a:pt x="4342" y="17883"/>
                    </a:lnTo>
                    <a:lnTo>
                      <a:pt x="5257" y="19509"/>
                    </a:lnTo>
                    <a:lnTo>
                      <a:pt x="5371" y="19509"/>
                    </a:lnTo>
                    <a:lnTo>
                      <a:pt x="5828" y="20438"/>
                    </a:lnTo>
                    <a:lnTo>
                      <a:pt x="6171" y="20787"/>
                    </a:lnTo>
                    <a:lnTo>
                      <a:pt x="6514" y="21483"/>
                    </a:lnTo>
                    <a:lnTo>
                      <a:pt x="6628" y="21600"/>
                    </a:lnTo>
                    <a:lnTo>
                      <a:pt x="7542" y="21600"/>
                    </a:lnTo>
                    <a:lnTo>
                      <a:pt x="7542" y="21367"/>
                    </a:lnTo>
                    <a:lnTo>
                      <a:pt x="7657" y="21135"/>
                    </a:lnTo>
                    <a:lnTo>
                      <a:pt x="7657" y="21019"/>
                    </a:lnTo>
                    <a:lnTo>
                      <a:pt x="8000" y="20670"/>
                    </a:lnTo>
                    <a:lnTo>
                      <a:pt x="8228" y="20554"/>
                    </a:lnTo>
                    <a:lnTo>
                      <a:pt x="8342" y="20438"/>
                    </a:lnTo>
                    <a:lnTo>
                      <a:pt x="8342" y="20206"/>
                    </a:lnTo>
                    <a:lnTo>
                      <a:pt x="8571" y="20090"/>
                    </a:lnTo>
                    <a:lnTo>
                      <a:pt x="8800" y="19858"/>
                    </a:lnTo>
                    <a:lnTo>
                      <a:pt x="8914" y="19625"/>
                    </a:lnTo>
                    <a:lnTo>
                      <a:pt x="9028" y="19161"/>
                    </a:lnTo>
                    <a:lnTo>
                      <a:pt x="9142" y="18464"/>
                    </a:lnTo>
                    <a:lnTo>
                      <a:pt x="9028" y="17883"/>
                    </a:lnTo>
                    <a:lnTo>
                      <a:pt x="8914" y="17535"/>
                    </a:lnTo>
                    <a:lnTo>
                      <a:pt x="8914" y="16838"/>
                    </a:lnTo>
                    <a:lnTo>
                      <a:pt x="9028" y="16490"/>
                    </a:lnTo>
                    <a:lnTo>
                      <a:pt x="9257" y="16258"/>
                    </a:lnTo>
                    <a:lnTo>
                      <a:pt x="9485" y="16141"/>
                    </a:lnTo>
                    <a:lnTo>
                      <a:pt x="9600" y="16025"/>
                    </a:lnTo>
                    <a:lnTo>
                      <a:pt x="9714" y="16025"/>
                    </a:lnTo>
                    <a:lnTo>
                      <a:pt x="9942" y="15909"/>
                    </a:lnTo>
                    <a:lnTo>
                      <a:pt x="10171" y="15677"/>
                    </a:lnTo>
                    <a:lnTo>
                      <a:pt x="10399" y="15561"/>
                    </a:lnTo>
                    <a:lnTo>
                      <a:pt x="11314" y="14632"/>
                    </a:lnTo>
                    <a:lnTo>
                      <a:pt x="12457" y="13703"/>
                    </a:lnTo>
                    <a:lnTo>
                      <a:pt x="12800" y="13470"/>
                    </a:lnTo>
                    <a:lnTo>
                      <a:pt x="12914" y="13354"/>
                    </a:lnTo>
                    <a:lnTo>
                      <a:pt x="13257" y="13238"/>
                    </a:lnTo>
                    <a:lnTo>
                      <a:pt x="13485" y="12890"/>
                    </a:lnTo>
                    <a:lnTo>
                      <a:pt x="13828" y="12541"/>
                    </a:lnTo>
                    <a:lnTo>
                      <a:pt x="14057" y="12193"/>
                    </a:lnTo>
                    <a:lnTo>
                      <a:pt x="14171" y="11729"/>
                    </a:lnTo>
                    <a:lnTo>
                      <a:pt x="14285" y="11612"/>
                    </a:lnTo>
                    <a:lnTo>
                      <a:pt x="14285" y="11496"/>
                    </a:lnTo>
                    <a:lnTo>
                      <a:pt x="14742" y="11264"/>
                    </a:lnTo>
                    <a:lnTo>
                      <a:pt x="14971" y="11264"/>
                    </a:lnTo>
                    <a:lnTo>
                      <a:pt x="15428" y="11380"/>
                    </a:lnTo>
                    <a:lnTo>
                      <a:pt x="15428" y="10451"/>
                    </a:lnTo>
                    <a:lnTo>
                      <a:pt x="15314" y="10219"/>
                    </a:lnTo>
                    <a:lnTo>
                      <a:pt x="15200" y="10219"/>
                    </a:lnTo>
                    <a:lnTo>
                      <a:pt x="15200" y="10103"/>
                    </a:lnTo>
                    <a:lnTo>
                      <a:pt x="15085" y="9987"/>
                    </a:lnTo>
                    <a:lnTo>
                      <a:pt x="15085" y="9522"/>
                    </a:lnTo>
                    <a:lnTo>
                      <a:pt x="15200" y="9406"/>
                    </a:lnTo>
                    <a:lnTo>
                      <a:pt x="15200" y="9174"/>
                    </a:lnTo>
                    <a:lnTo>
                      <a:pt x="15314" y="8941"/>
                    </a:lnTo>
                    <a:lnTo>
                      <a:pt x="15314" y="8825"/>
                    </a:lnTo>
                    <a:lnTo>
                      <a:pt x="15428" y="8709"/>
                    </a:lnTo>
                    <a:lnTo>
                      <a:pt x="16571" y="8709"/>
                    </a:lnTo>
                    <a:lnTo>
                      <a:pt x="16685" y="8825"/>
                    </a:lnTo>
                    <a:lnTo>
                      <a:pt x="16800" y="9058"/>
                    </a:lnTo>
                    <a:lnTo>
                      <a:pt x="16800" y="9522"/>
                    </a:lnTo>
                    <a:lnTo>
                      <a:pt x="17028" y="10335"/>
                    </a:lnTo>
                    <a:lnTo>
                      <a:pt x="17257" y="10103"/>
                    </a:lnTo>
                    <a:lnTo>
                      <a:pt x="17371" y="9870"/>
                    </a:lnTo>
                    <a:lnTo>
                      <a:pt x="17371" y="9754"/>
                    </a:lnTo>
                    <a:lnTo>
                      <a:pt x="17485" y="9522"/>
                    </a:lnTo>
                    <a:lnTo>
                      <a:pt x="17599" y="9406"/>
                    </a:lnTo>
                    <a:lnTo>
                      <a:pt x="17714" y="9406"/>
                    </a:lnTo>
                    <a:lnTo>
                      <a:pt x="17828" y="9522"/>
                    </a:lnTo>
                    <a:lnTo>
                      <a:pt x="17828" y="9754"/>
                    </a:lnTo>
                    <a:lnTo>
                      <a:pt x="18057" y="10683"/>
                    </a:lnTo>
                    <a:lnTo>
                      <a:pt x="18057" y="10567"/>
                    </a:lnTo>
                    <a:lnTo>
                      <a:pt x="18285" y="10567"/>
                    </a:lnTo>
                    <a:lnTo>
                      <a:pt x="18285" y="10683"/>
                    </a:lnTo>
                    <a:lnTo>
                      <a:pt x="18514" y="10683"/>
                    </a:lnTo>
                    <a:lnTo>
                      <a:pt x="18514" y="10335"/>
                    </a:lnTo>
                    <a:lnTo>
                      <a:pt x="18400" y="10103"/>
                    </a:lnTo>
                    <a:lnTo>
                      <a:pt x="18400" y="9754"/>
                    </a:lnTo>
                    <a:lnTo>
                      <a:pt x="18514" y="9754"/>
                    </a:lnTo>
                    <a:lnTo>
                      <a:pt x="18742" y="9870"/>
                    </a:lnTo>
                    <a:lnTo>
                      <a:pt x="18857" y="9987"/>
                    </a:lnTo>
                    <a:lnTo>
                      <a:pt x="18971" y="9987"/>
                    </a:lnTo>
                    <a:lnTo>
                      <a:pt x="19428" y="9522"/>
                    </a:lnTo>
                    <a:lnTo>
                      <a:pt x="19542" y="9522"/>
                    </a:lnTo>
                    <a:lnTo>
                      <a:pt x="19657" y="9290"/>
                    </a:lnTo>
                    <a:lnTo>
                      <a:pt x="19657" y="9058"/>
                    </a:lnTo>
                    <a:lnTo>
                      <a:pt x="19771" y="8825"/>
                    </a:lnTo>
                    <a:lnTo>
                      <a:pt x="19885" y="8477"/>
                    </a:lnTo>
                    <a:lnTo>
                      <a:pt x="19999" y="8245"/>
                    </a:lnTo>
                    <a:lnTo>
                      <a:pt x="20457" y="8012"/>
                    </a:lnTo>
                    <a:lnTo>
                      <a:pt x="21028" y="7780"/>
                    </a:lnTo>
                    <a:lnTo>
                      <a:pt x="21142" y="7548"/>
                    </a:lnTo>
                    <a:lnTo>
                      <a:pt x="21142" y="7432"/>
                    </a:lnTo>
                    <a:lnTo>
                      <a:pt x="21371" y="7200"/>
                    </a:lnTo>
                    <a:lnTo>
                      <a:pt x="21371" y="6967"/>
                    </a:lnTo>
                    <a:lnTo>
                      <a:pt x="21485" y="6735"/>
                    </a:lnTo>
                    <a:lnTo>
                      <a:pt x="21599" y="6619"/>
                    </a:lnTo>
                    <a:lnTo>
                      <a:pt x="21599" y="6270"/>
                    </a:lnTo>
                    <a:lnTo>
                      <a:pt x="21485" y="6270"/>
                    </a:lnTo>
                    <a:lnTo>
                      <a:pt x="20914" y="6387"/>
                    </a:lnTo>
                    <a:lnTo>
                      <a:pt x="20228" y="6503"/>
                    </a:lnTo>
                    <a:lnTo>
                      <a:pt x="19657" y="6619"/>
                    </a:lnTo>
                    <a:lnTo>
                      <a:pt x="18857" y="6503"/>
                    </a:lnTo>
                    <a:lnTo>
                      <a:pt x="18514" y="7200"/>
                    </a:lnTo>
                    <a:lnTo>
                      <a:pt x="18400" y="7548"/>
                    </a:lnTo>
                    <a:lnTo>
                      <a:pt x="18285" y="7780"/>
                    </a:lnTo>
                    <a:lnTo>
                      <a:pt x="18057" y="8012"/>
                    </a:lnTo>
                    <a:lnTo>
                      <a:pt x="17714" y="8012"/>
                    </a:lnTo>
                    <a:lnTo>
                      <a:pt x="17485" y="7896"/>
                    </a:lnTo>
                    <a:lnTo>
                      <a:pt x="17028" y="7896"/>
                    </a:lnTo>
                    <a:lnTo>
                      <a:pt x="16800" y="8012"/>
                    </a:lnTo>
                    <a:lnTo>
                      <a:pt x="16571" y="7896"/>
                    </a:lnTo>
                    <a:lnTo>
                      <a:pt x="15999" y="7896"/>
                    </a:lnTo>
                    <a:lnTo>
                      <a:pt x="15085" y="801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8" name="AutoShape 183"/>
              <p:cNvSpPr>
                <a:spLocks/>
              </p:cNvSpPr>
              <p:nvPr/>
            </p:nvSpPr>
            <p:spPr bwMode="auto">
              <a:xfrm>
                <a:off x="359062" y="1161404"/>
                <a:ext cx="220663" cy="14279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599" y="5717"/>
                    </a:moveTo>
                    <a:lnTo>
                      <a:pt x="19395" y="5717"/>
                    </a:lnTo>
                    <a:lnTo>
                      <a:pt x="18293" y="6035"/>
                    </a:lnTo>
                    <a:lnTo>
                      <a:pt x="17853" y="6352"/>
                    </a:lnTo>
                    <a:lnTo>
                      <a:pt x="17632" y="6670"/>
                    </a:lnTo>
                    <a:lnTo>
                      <a:pt x="17191" y="6988"/>
                    </a:lnTo>
                    <a:lnTo>
                      <a:pt x="16971" y="7305"/>
                    </a:lnTo>
                    <a:lnTo>
                      <a:pt x="16971" y="7941"/>
                    </a:lnTo>
                    <a:lnTo>
                      <a:pt x="15208" y="8894"/>
                    </a:lnTo>
                    <a:lnTo>
                      <a:pt x="14767" y="10482"/>
                    </a:lnTo>
                    <a:lnTo>
                      <a:pt x="14106" y="10482"/>
                    </a:lnTo>
                    <a:lnTo>
                      <a:pt x="13665" y="10800"/>
                    </a:lnTo>
                    <a:lnTo>
                      <a:pt x="13444" y="11435"/>
                    </a:lnTo>
                    <a:lnTo>
                      <a:pt x="13444" y="13341"/>
                    </a:lnTo>
                    <a:lnTo>
                      <a:pt x="11461" y="16200"/>
                    </a:lnTo>
                    <a:lnTo>
                      <a:pt x="10359" y="16200"/>
                    </a:lnTo>
                    <a:lnTo>
                      <a:pt x="9697" y="16517"/>
                    </a:lnTo>
                    <a:lnTo>
                      <a:pt x="9257" y="16517"/>
                    </a:lnTo>
                    <a:lnTo>
                      <a:pt x="8595" y="17152"/>
                    </a:lnTo>
                    <a:lnTo>
                      <a:pt x="8155" y="17470"/>
                    </a:lnTo>
                    <a:lnTo>
                      <a:pt x="7934" y="18105"/>
                    </a:lnTo>
                    <a:lnTo>
                      <a:pt x="7053" y="19376"/>
                    </a:lnTo>
                    <a:lnTo>
                      <a:pt x="6612" y="19694"/>
                    </a:lnTo>
                    <a:lnTo>
                      <a:pt x="6391" y="20329"/>
                    </a:lnTo>
                    <a:lnTo>
                      <a:pt x="6171" y="20329"/>
                    </a:lnTo>
                    <a:lnTo>
                      <a:pt x="5951" y="20647"/>
                    </a:lnTo>
                    <a:lnTo>
                      <a:pt x="5730" y="20647"/>
                    </a:lnTo>
                    <a:lnTo>
                      <a:pt x="4848" y="21282"/>
                    </a:lnTo>
                    <a:lnTo>
                      <a:pt x="3526" y="21600"/>
                    </a:lnTo>
                    <a:lnTo>
                      <a:pt x="2204" y="21282"/>
                    </a:lnTo>
                    <a:lnTo>
                      <a:pt x="1322" y="20964"/>
                    </a:lnTo>
                    <a:lnTo>
                      <a:pt x="220" y="17470"/>
                    </a:lnTo>
                    <a:lnTo>
                      <a:pt x="0" y="12705"/>
                    </a:lnTo>
                    <a:lnTo>
                      <a:pt x="1102" y="10164"/>
                    </a:lnTo>
                    <a:lnTo>
                      <a:pt x="1322" y="6670"/>
                    </a:lnTo>
                    <a:lnTo>
                      <a:pt x="3085" y="6670"/>
                    </a:lnTo>
                    <a:lnTo>
                      <a:pt x="3526" y="5082"/>
                    </a:lnTo>
                    <a:lnTo>
                      <a:pt x="3746" y="5082"/>
                    </a:lnTo>
                    <a:lnTo>
                      <a:pt x="4628" y="4447"/>
                    </a:lnTo>
                    <a:lnTo>
                      <a:pt x="5289" y="3811"/>
                    </a:lnTo>
                    <a:lnTo>
                      <a:pt x="5730" y="3176"/>
                    </a:lnTo>
                    <a:lnTo>
                      <a:pt x="6171" y="2223"/>
                    </a:lnTo>
                    <a:lnTo>
                      <a:pt x="6391" y="1270"/>
                    </a:lnTo>
                    <a:lnTo>
                      <a:pt x="6612" y="1270"/>
                    </a:lnTo>
                    <a:lnTo>
                      <a:pt x="6832" y="1588"/>
                    </a:lnTo>
                    <a:lnTo>
                      <a:pt x="8816" y="1588"/>
                    </a:lnTo>
                    <a:lnTo>
                      <a:pt x="10138" y="1905"/>
                    </a:lnTo>
                    <a:lnTo>
                      <a:pt x="11902" y="1588"/>
                    </a:lnTo>
                    <a:lnTo>
                      <a:pt x="13444" y="317"/>
                    </a:lnTo>
                    <a:lnTo>
                      <a:pt x="14546" y="0"/>
                    </a:lnTo>
                    <a:lnTo>
                      <a:pt x="15428" y="1270"/>
                    </a:lnTo>
                    <a:lnTo>
                      <a:pt x="15428" y="1588"/>
                    </a:lnTo>
                    <a:lnTo>
                      <a:pt x="15648" y="1905"/>
                    </a:lnTo>
                    <a:lnTo>
                      <a:pt x="17412" y="3176"/>
                    </a:lnTo>
                    <a:lnTo>
                      <a:pt x="21379" y="3176"/>
                    </a:lnTo>
                    <a:lnTo>
                      <a:pt x="21379" y="4764"/>
                    </a:lnTo>
                    <a:lnTo>
                      <a:pt x="21599" y="5399"/>
                    </a:lnTo>
                    <a:lnTo>
                      <a:pt x="21599" y="571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29" name="AutoShape 184"/>
              <p:cNvSpPr>
                <a:spLocks/>
              </p:cNvSpPr>
              <p:nvPr/>
            </p:nvSpPr>
            <p:spPr bwMode="auto">
              <a:xfrm>
                <a:off x="1260763" y="1031301"/>
                <a:ext cx="131763" cy="18087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0"/>
                    </a:moveTo>
                    <a:lnTo>
                      <a:pt x="20855" y="502"/>
                    </a:lnTo>
                    <a:lnTo>
                      <a:pt x="19365" y="1255"/>
                    </a:lnTo>
                    <a:lnTo>
                      <a:pt x="17503" y="2511"/>
                    </a:lnTo>
                    <a:lnTo>
                      <a:pt x="15641" y="3516"/>
                    </a:lnTo>
                    <a:lnTo>
                      <a:pt x="14151" y="4269"/>
                    </a:lnTo>
                    <a:lnTo>
                      <a:pt x="13034" y="4772"/>
                    </a:lnTo>
                    <a:lnTo>
                      <a:pt x="11544" y="5776"/>
                    </a:lnTo>
                    <a:lnTo>
                      <a:pt x="10800" y="6027"/>
                    </a:lnTo>
                    <a:lnTo>
                      <a:pt x="10055" y="6027"/>
                    </a:lnTo>
                    <a:lnTo>
                      <a:pt x="10055" y="6279"/>
                    </a:lnTo>
                    <a:lnTo>
                      <a:pt x="4096" y="5776"/>
                    </a:lnTo>
                    <a:lnTo>
                      <a:pt x="3351" y="5776"/>
                    </a:lnTo>
                    <a:lnTo>
                      <a:pt x="3351" y="6027"/>
                    </a:lnTo>
                    <a:lnTo>
                      <a:pt x="2979" y="6530"/>
                    </a:lnTo>
                    <a:lnTo>
                      <a:pt x="2979" y="7032"/>
                    </a:lnTo>
                    <a:lnTo>
                      <a:pt x="3351" y="7534"/>
                    </a:lnTo>
                    <a:lnTo>
                      <a:pt x="3351" y="8037"/>
                    </a:lnTo>
                    <a:lnTo>
                      <a:pt x="3724" y="8288"/>
                    </a:lnTo>
                    <a:lnTo>
                      <a:pt x="3351" y="8790"/>
                    </a:lnTo>
                    <a:lnTo>
                      <a:pt x="2606" y="9041"/>
                    </a:lnTo>
                    <a:lnTo>
                      <a:pt x="1489" y="9041"/>
                    </a:lnTo>
                    <a:lnTo>
                      <a:pt x="744" y="8790"/>
                    </a:lnTo>
                    <a:lnTo>
                      <a:pt x="0" y="8790"/>
                    </a:lnTo>
                    <a:lnTo>
                      <a:pt x="0" y="11553"/>
                    </a:lnTo>
                    <a:lnTo>
                      <a:pt x="2234" y="11302"/>
                    </a:lnTo>
                    <a:lnTo>
                      <a:pt x="4096" y="12306"/>
                    </a:lnTo>
                    <a:lnTo>
                      <a:pt x="2979" y="14065"/>
                    </a:lnTo>
                    <a:lnTo>
                      <a:pt x="3351" y="14065"/>
                    </a:lnTo>
                    <a:lnTo>
                      <a:pt x="4841" y="15069"/>
                    </a:lnTo>
                    <a:lnTo>
                      <a:pt x="6331" y="15572"/>
                    </a:lnTo>
                    <a:lnTo>
                      <a:pt x="6703" y="15823"/>
                    </a:lnTo>
                    <a:lnTo>
                      <a:pt x="7448" y="16074"/>
                    </a:lnTo>
                    <a:lnTo>
                      <a:pt x="7820" y="16325"/>
                    </a:lnTo>
                    <a:lnTo>
                      <a:pt x="7820" y="18586"/>
                    </a:lnTo>
                    <a:lnTo>
                      <a:pt x="7448" y="19590"/>
                    </a:lnTo>
                    <a:lnTo>
                      <a:pt x="7448" y="20093"/>
                    </a:lnTo>
                    <a:lnTo>
                      <a:pt x="7820" y="20595"/>
                    </a:lnTo>
                    <a:lnTo>
                      <a:pt x="8937" y="21348"/>
                    </a:lnTo>
                    <a:lnTo>
                      <a:pt x="9682" y="21348"/>
                    </a:lnTo>
                    <a:lnTo>
                      <a:pt x="10427" y="21600"/>
                    </a:lnTo>
                    <a:lnTo>
                      <a:pt x="11917" y="21600"/>
                    </a:lnTo>
                    <a:lnTo>
                      <a:pt x="12662" y="21097"/>
                    </a:lnTo>
                    <a:lnTo>
                      <a:pt x="13406" y="20846"/>
                    </a:lnTo>
                    <a:lnTo>
                      <a:pt x="13779" y="20344"/>
                    </a:lnTo>
                    <a:lnTo>
                      <a:pt x="14151" y="20093"/>
                    </a:lnTo>
                    <a:lnTo>
                      <a:pt x="14524" y="17079"/>
                    </a:lnTo>
                    <a:lnTo>
                      <a:pt x="14524" y="16074"/>
                    </a:lnTo>
                    <a:lnTo>
                      <a:pt x="14151" y="15069"/>
                    </a:lnTo>
                    <a:lnTo>
                      <a:pt x="13779" y="14567"/>
                    </a:lnTo>
                    <a:lnTo>
                      <a:pt x="13034" y="14065"/>
                    </a:lnTo>
                    <a:lnTo>
                      <a:pt x="12662" y="13562"/>
                    </a:lnTo>
                    <a:lnTo>
                      <a:pt x="12289" y="13562"/>
                    </a:lnTo>
                    <a:lnTo>
                      <a:pt x="11917" y="13311"/>
                    </a:lnTo>
                    <a:lnTo>
                      <a:pt x="11544" y="13311"/>
                    </a:lnTo>
                    <a:lnTo>
                      <a:pt x="10800" y="12558"/>
                    </a:lnTo>
                    <a:lnTo>
                      <a:pt x="10055" y="12055"/>
                    </a:lnTo>
                    <a:lnTo>
                      <a:pt x="10055" y="11051"/>
                    </a:lnTo>
                    <a:lnTo>
                      <a:pt x="10427" y="10800"/>
                    </a:lnTo>
                    <a:lnTo>
                      <a:pt x="10800" y="10800"/>
                    </a:lnTo>
                    <a:lnTo>
                      <a:pt x="10800" y="10548"/>
                    </a:lnTo>
                    <a:lnTo>
                      <a:pt x="11172" y="10548"/>
                    </a:lnTo>
                    <a:lnTo>
                      <a:pt x="13779" y="8790"/>
                    </a:lnTo>
                    <a:lnTo>
                      <a:pt x="16013" y="7032"/>
                    </a:lnTo>
                    <a:lnTo>
                      <a:pt x="17503" y="5776"/>
                    </a:lnTo>
                    <a:lnTo>
                      <a:pt x="18248" y="5274"/>
                    </a:lnTo>
                    <a:lnTo>
                      <a:pt x="19365" y="4018"/>
                    </a:lnTo>
                    <a:lnTo>
                      <a:pt x="21227" y="1506"/>
                    </a:lnTo>
                    <a:lnTo>
                      <a:pt x="21227" y="1004"/>
                    </a:lnTo>
                    <a:lnTo>
                      <a:pt x="2160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0" name="AutoShape 185"/>
              <p:cNvSpPr>
                <a:spLocks/>
              </p:cNvSpPr>
              <p:nvPr/>
            </p:nvSpPr>
            <p:spPr bwMode="auto">
              <a:xfrm>
                <a:off x="546387" y="853599"/>
                <a:ext cx="893763" cy="601331"/>
              </a:xfrm>
              <a:custGeom>
                <a:avLst/>
                <a:gdLst>
                  <a:gd name="T0" fmla="*/ 10778 w 21556"/>
                  <a:gd name="T1" fmla="*/ 10800 h 21600"/>
                  <a:gd name="T2" fmla="*/ 10778 w 21556"/>
                  <a:gd name="T3" fmla="*/ 10800 h 21600"/>
                  <a:gd name="T4" fmla="*/ 10778 w 21556"/>
                  <a:gd name="T5" fmla="*/ 10800 h 21600"/>
                  <a:gd name="T6" fmla="*/ 10778 w 21556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556" h="21600">
                    <a:moveTo>
                      <a:pt x="5290" y="3236"/>
                    </a:moveTo>
                    <a:cubicBezTo>
                      <a:pt x="5263" y="3462"/>
                      <a:pt x="5263" y="3687"/>
                      <a:pt x="5236" y="3913"/>
                    </a:cubicBezTo>
                    <a:cubicBezTo>
                      <a:pt x="5290" y="4101"/>
                      <a:pt x="5345" y="4327"/>
                      <a:pt x="5399" y="4515"/>
                    </a:cubicBezTo>
                    <a:cubicBezTo>
                      <a:pt x="5481" y="4666"/>
                      <a:pt x="5590" y="4816"/>
                      <a:pt x="5672" y="4967"/>
                    </a:cubicBezTo>
                    <a:cubicBezTo>
                      <a:pt x="5809" y="5080"/>
                      <a:pt x="5918" y="5230"/>
                      <a:pt x="6054" y="5343"/>
                    </a:cubicBezTo>
                    <a:cubicBezTo>
                      <a:pt x="6190" y="5418"/>
                      <a:pt x="6300" y="5494"/>
                      <a:pt x="6436" y="5569"/>
                    </a:cubicBezTo>
                    <a:lnTo>
                      <a:pt x="6763" y="5795"/>
                    </a:lnTo>
                    <a:cubicBezTo>
                      <a:pt x="6845" y="5908"/>
                      <a:pt x="6954" y="5983"/>
                      <a:pt x="7036" y="6096"/>
                    </a:cubicBezTo>
                    <a:lnTo>
                      <a:pt x="7200" y="6547"/>
                    </a:lnTo>
                    <a:cubicBezTo>
                      <a:pt x="7227" y="6735"/>
                      <a:pt x="7281" y="6886"/>
                      <a:pt x="7309" y="7074"/>
                    </a:cubicBezTo>
                    <a:cubicBezTo>
                      <a:pt x="7336" y="7187"/>
                      <a:pt x="7336" y="7337"/>
                      <a:pt x="7363" y="7450"/>
                    </a:cubicBezTo>
                    <a:lnTo>
                      <a:pt x="7363" y="7601"/>
                    </a:lnTo>
                    <a:cubicBezTo>
                      <a:pt x="7390" y="7714"/>
                      <a:pt x="7390" y="7789"/>
                      <a:pt x="7418" y="7902"/>
                    </a:cubicBezTo>
                    <a:cubicBezTo>
                      <a:pt x="7500" y="7940"/>
                      <a:pt x="7554" y="8015"/>
                      <a:pt x="7636" y="8052"/>
                    </a:cubicBezTo>
                    <a:cubicBezTo>
                      <a:pt x="7772" y="8090"/>
                      <a:pt x="7881" y="8090"/>
                      <a:pt x="8018" y="8128"/>
                    </a:cubicBezTo>
                    <a:cubicBezTo>
                      <a:pt x="8154" y="8165"/>
                      <a:pt x="8318" y="8165"/>
                      <a:pt x="8454" y="8203"/>
                    </a:cubicBezTo>
                    <a:cubicBezTo>
                      <a:pt x="8590" y="8165"/>
                      <a:pt x="8700" y="8165"/>
                      <a:pt x="8836" y="8128"/>
                    </a:cubicBezTo>
                    <a:cubicBezTo>
                      <a:pt x="8972" y="8090"/>
                      <a:pt x="9081" y="8090"/>
                      <a:pt x="9218" y="8052"/>
                    </a:cubicBezTo>
                    <a:lnTo>
                      <a:pt x="9490" y="8052"/>
                    </a:lnTo>
                    <a:cubicBezTo>
                      <a:pt x="9572" y="8090"/>
                      <a:pt x="9627" y="8090"/>
                      <a:pt x="9709" y="8128"/>
                    </a:cubicBezTo>
                    <a:lnTo>
                      <a:pt x="9872" y="8354"/>
                    </a:lnTo>
                    <a:cubicBezTo>
                      <a:pt x="9927" y="8391"/>
                      <a:pt x="9981" y="8466"/>
                      <a:pt x="10036" y="8504"/>
                    </a:cubicBezTo>
                    <a:cubicBezTo>
                      <a:pt x="10145" y="8542"/>
                      <a:pt x="10254" y="8542"/>
                      <a:pt x="10363" y="8579"/>
                    </a:cubicBezTo>
                    <a:cubicBezTo>
                      <a:pt x="10500" y="8542"/>
                      <a:pt x="10663" y="8542"/>
                      <a:pt x="10800" y="8504"/>
                    </a:cubicBezTo>
                    <a:cubicBezTo>
                      <a:pt x="10936" y="8429"/>
                      <a:pt x="11099" y="8354"/>
                      <a:pt x="11236" y="8278"/>
                    </a:cubicBezTo>
                    <a:cubicBezTo>
                      <a:pt x="11345" y="8165"/>
                      <a:pt x="11454" y="8090"/>
                      <a:pt x="11563" y="7977"/>
                    </a:cubicBezTo>
                    <a:cubicBezTo>
                      <a:pt x="11645" y="7940"/>
                      <a:pt x="11700" y="7864"/>
                      <a:pt x="11781" y="7827"/>
                    </a:cubicBezTo>
                    <a:cubicBezTo>
                      <a:pt x="11863" y="7789"/>
                      <a:pt x="11918" y="7789"/>
                      <a:pt x="11999" y="7751"/>
                    </a:cubicBezTo>
                    <a:cubicBezTo>
                      <a:pt x="12136" y="7714"/>
                      <a:pt x="12245" y="7639"/>
                      <a:pt x="12381" y="7601"/>
                    </a:cubicBezTo>
                    <a:cubicBezTo>
                      <a:pt x="12572" y="7563"/>
                      <a:pt x="12736" y="7488"/>
                      <a:pt x="12927" y="7450"/>
                    </a:cubicBezTo>
                    <a:cubicBezTo>
                      <a:pt x="13118" y="7413"/>
                      <a:pt x="13281" y="7337"/>
                      <a:pt x="13472" y="7300"/>
                    </a:cubicBezTo>
                    <a:cubicBezTo>
                      <a:pt x="13663" y="7262"/>
                      <a:pt x="13827" y="7187"/>
                      <a:pt x="14018" y="7149"/>
                    </a:cubicBezTo>
                    <a:cubicBezTo>
                      <a:pt x="14154" y="7112"/>
                      <a:pt x="14318" y="7036"/>
                      <a:pt x="14454" y="6999"/>
                    </a:cubicBezTo>
                    <a:lnTo>
                      <a:pt x="14781" y="6773"/>
                    </a:lnTo>
                    <a:cubicBezTo>
                      <a:pt x="14836" y="6660"/>
                      <a:pt x="14890" y="6585"/>
                      <a:pt x="14945" y="6472"/>
                    </a:cubicBezTo>
                    <a:cubicBezTo>
                      <a:pt x="14972" y="6359"/>
                      <a:pt x="15027" y="6284"/>
                      <a:pt x="15054" y="6171"/>
                    </a:cubicBezTo>
                    <a:lnTo>
                      <a:pt x="15054" y="5795"/>
                    </a:lnTo>
                    <a:cubicBezTo>
                      <a:pt x="15190" y="5682"/>
                      <a:pt x="15354" y="5606"/>
                      <a:pt x="15490" y="5494"/>
                    </a:cubicBezTo>
                    <a:cubicBezTo>
                      <a:pt x="15627" y="5456"/>
                      <a:pt x="15790" y="5381"/>
                      <a:pt x="15927" y="5343"/>
                    </a:cubicBezTo>
                    <a:lnTo>
                      <a:pt x="16090" y="5343"/>
                    </a:lnTo>
                    <a:cubicBezTo>
                      <a:pt x="16145" y="5305"/>
                      <a:pt x="16200" y="5305"/>
                      <a:pt x="16254" y="5268"/>
                    </a:cubicBezTo>
                    <a:cubicBezTo>
                      <a:pt x="16336" y="5230"/>
                      <a:pt x="16390" y="5230"/>
                      <a:pt x="16472" y="5193"/>
                    </a:cubicBezTo>
                    <a:lnTo>
                      <a:pt x="16690" y="4891"/>
                    </a:lnTo>
                    <a:lnTo>
                      <a:pt x="16690" y="4741"/>
                    </a:lnTo>
                    <a:cubicBezTo>
                      <a:pt x="16663" y="4703"/>
                      <a:pt x="16663" y="4628"/>
                      <a:pt x="16636" y="4590"/>
                    </a:cubicBezTo>
                    <a:lnTo>
                      <a:pt x="16527" y="4440"/>
                    </a:lnTo>
                    <a:cubicBezTo>
                      <a:pt x="16472" y="4402"/>
                      <a:pt x="16418" y="4402"/>
                      <a:pt x="16363" y="4365"/>
                    </a:cubicBezTo>
                    <a:cubicBezTo>
                      <a:pt x="16336" y="4327"/>
                      <a:pt x="16281" y="4327"/>
                      <a:pt x="16254" y="4289"/>
                    </a:cubicBezTo>
                    <a:lnTo>
                      <a:pt x="15327" y="4289"/>
                    </a:lnTo>
                    <a:cubicBezTo>
                      <a:pt x="15409" y="3800"/>
                      <a:pt x="15463" y="3349"/>
                      <a:pt x="15545" y="2859"/>
                    </a:cubicBezTo>
                    <a:cubicBezTo>
                      <a:pt x="15709" y="2671"/>
                      <a:pt x="15872" y="2445"/>
                      <a:pt x="16036" y="2257"/>
                    </a:cubicBezTo>
                    <a:lnTo>
                      <a:pt x="16036" y="1731"/>
                    </a:lnTo>
                    <a:cubicBezTo>
                      <a:pt x="16063" y="1580"/>
                      <a:pt x="16063" y="1429"/>
                      <a:pt x="16090" y="1279"/>
                    </a:cubicBezTo>
                    <a:cubicBezTo>
                      <a:pt x="16118" y="1091"/>
                      <a:pt x="16172" y="940"/>
                      <a:pt x="16200" y="752"/>
                    </a:cubicBezTo>
                    <a:cubicBezTo>
                      <a:pt x="16281" y="602"/>
                      <a:pt x="16336" y="451"/>
                      <a:pt x="16418" y="301"/>
                    </a:cubicBezTo>
                    <a:lnTo>
                      <a:pt x="16745" y="75"/>
                    </a:lnTo>
                    <a:cubicBezTo>
                      <a:pt x="16936" y="37"/>
                      <a:pt x="17100" y="37"/>
                      <a:pt x="17290" y="0"/>
                    </a:cubicBezTo>
                    <a:cubicBezTo>
                      <a:pt x="17427" y="37"/>
                      <a:pt x="17536" y="37"/>
                      <a:pt x="17672" y="75"/>
                    </a:cubicBezTo>
                    <a:cubicBezTo>
                      <a:pt x="17754" y="150"/>
                      <a:pt x="17863" y="225"/>
                      <a:pt x="17945" y="301"/>
                    </a:cubicBezTo>
                    <a:lnTo>
                      <a:pt x="18109" y="752"/>
                    </a:lnTo>
                    <a:lnTo>
                      <a:pt x="18163" y="827"/>
                    </a:lnTo>
                    <a:lnTo>
                      <a:pt x="18163" y="903"/>
                    </a:lnTo>
                    <a:cubicBezTo>
                      <a:pt x="18190" y="978"/>
                      <a:pt x="18190" y="1053"/>
                      <a:pt x="18218" y="1128"/>
                    </a:cubicBezTo>
                    <a:cubicBezTo>
                      <a:pt x="18245" y="1204"/>
                      <a:pt x="18300" y="1279"/>
                      <a:pt x="18327" y="1354"/>
                    </a:cubicBezTo>
                    <a:cubicBezTo>
                      <a:pt x="18354" y="1429"/>
                      <a:pt x="18354" y="1505"/>
                      <a:pt x="18381" y="1580"/>
                    </a:cubicBezTo>
                    <a:cubicBezTo>
                      <a:pt x="18409" y="1693"/>
                      <a:pt x="18409" y="1768"/>
                      <a:pt x="18436" y="1881"/>
                    </a:cubicBezTo>
                    <a:lnTo>
                      <a:pt x="18709" y="2257"/>
                    </a:lnTo>
                    <a:cubicBezTo>
                      <a:pt x="18790" y="2370"/>
                      <a:pt x="18845" y="2521"/>
                      <a:pt x="18927" y="2634"/>
                    </a:cubicBezTo>
                    <a:cubicBezTo>
                      <a:pt x="18981" y="2747"/>
                      <a:pt x="19036" y="2897"/>
                      <a:pt x="19090" y="3010"/>
                    </a:cubicBezTo>
                    <a:cubicBezTo>
                      <a:pt x="19118" y="3160"/>
                      <a:pt x="19118" y="3311"/>
                      <a:pt x="19145" y="3462"/>
                    </a:cubicBezTo>
                    <a:lnTo>
                      <a:pt x="19254" y="3462"/>
                    </a:lnTo>
                    <a:lnTo>
                      <a:pt x="19309" y="3386"/>
                    </a:lnTo>
                    <a:lnTo>
                      <a:pt x="19527" y="3386"/>
                    </a:lnTo>
                    <a:cubicBezTo>
                      <a:pt x="19581" y="3424"/>
                      <a:pt x="19636" y="3424"/>
                      <a:pt x="19690" y="3462"/>
                    </a:cubicBezTo>
                    <a:cubicBezTo>
                      <a:pt x="19718" y="3499"/>
                      <a:pt x="19772" y="3499"/>
                      <a:pt x="19799" y="3537"/>
                    </a:cubicBezTo>
                    <a:lnTo>
                      <a:pt x="19909" y="3687"/>
                    </a:lnTo>
                    <a:cubicBezTo>
                      <a:pt x="19936" y="3763"/>
                      <a:pt x="19936" y="3838"/>
                      <a:pt x="19963" y="3913"/>
                    </a:cubicBezTo>
                    <a:lnTo>
                      <a:pt x="20018" y="3988"/>
                    </a:lnTo>
                    <a:lnTo>
                      <a:pt x="20018" y="4064"/>
                    </a:lnTo>
                    <a:cubicBezTo>
                      <a:pt x="20045" y="4101"/>
                      <a:pt x="20045" y="4177"/>
                      <a:pt x="20072" y="4214"/>
                    </a:cubicBezTo>
                    <a:lnTo>
                      <a:pt x="20127" y="4289"/>
                    </a:lnTo>
                    <a:lnTo>
                      <a:pt x="20345" y="4289"/>
                    </a:lnTo>
                    <a:cubicBezTo>
                      <a:pt x="20400" y="4252"/>
                      <a:pt x="20454" y="4252"/>
                      <a:pt x="20509" y="4214"/>
                    </a:cubicBezTo>
                    <a:cubicBezTo>
                      <a:pt x="20563" y="4177"/>
                      <a:pt x="20618" y="4101"/>
                      <a:pt x="20672" y="4064"/>
                    </a:cubicBezTo>
                    <a:lnTo>
                      <a:pt x="20727" y="4064"/>
                    </a:lnTo>
                    <a:cubicBezTo>
                      <a:pt x="20754" y="4026"/>
                      <a:pt x="20754" y="3951"/>
                      <a:pt x="20781" y="3913"/>
                    </a:cubicBezTo>
                    <a:cubicBezTo>
                      <a:pt x="20809" y="3875"/>
                      <a:pt x="20809" y="3800"/>
                      <a:pt x="20836" y="3763"/>
                    </a:cubicBezTo>
                    <a:cubicBezTo>
                      <a:pt x="20863" y="3687"/>
                      <a:pt x="20918" y="3612"/>
                      <a:pt x="20945" y="3537"/>
                    </a:cubicBezTo>
                    <a:cubicBezTo>
                      <a:pt x="21000" y="3499"/>
                      <a:pt x="21054" y="3424"/>
                      <a:pt x="21109" y="3386"/>
                    </a:cubicBezTo>
                    <a:cubicBezTo>
                      <a:pt x="21136" y="3311"/>
                      <a:pt x="21190" y="3236"/>
                      <a:pt x="21218" y="3160"/>
                    </a:cubicBezTo>
                    <a:cubicBezTo>
                      <a:pt x="21272" y="3123"/>
                      <a:pt x="21327" y="3048"/>
                      <a:pt x="21381" y="3010"/>
                    </a:cubicBezTo>
                    <a:cubicBezTo>
                      <a:pt x="21436" y="2972"/>
                      <a:pt x="21490" y="2972"/>
                      <a:pt x="21545" y="2935"/>
                    </a:cubicBezTo>
                    <a:lnTo>
                      <a:pt x="21545" y="3386"/>
                    </a:lnTo>
                    <a:cubicBezTo>
                      <a:pt x="21545" y="3612"/>
                      <a:pt x="21600" y="4064"/>
                      <a:pt x="21463" y="4553"/>
                    </a:cubicBezTo>
                    <a:cubicBezTo>
                      <a:pt x="21354" y="4779"/>
                      <a:pt x="20836" y="6058"/>
                      <a:pt x="20699" y="6246"/>
                    </a:cubicBezTo>
                    <a:cubicBezTo>
                      <a:pt x="20481" y="6585"/>
                      <a:pt x="20372" y="6397"/>
                      <a:pt x="20181" y="6547"/>
                    </a:cubicBezTo>
                    <a:cubicBezTo>
                      <a:pt x="19990" y="6735"/>
                      <a:pt x="19827" y="6961"/>
                      <a:pt x="19636" y="7149"/>
                    </a:cubicBezTo>
                    <a:cubicBezTo>
                      <a:pt x="19445" y="7375"/>
                      <a:pt x="19227" y="7601"/>
                      <a:pt x="19036" y="7827"/>
                    </a:cubicBezTo>
                    <a:lnTo>
                      <a:pt x="18927" y="7977"/>
                    </a:lnTo>
                    <a:cubicBezTo>
                      <a:pt x="18900" y="8015"/>
                      <a:pt x="18845" y="8015"/>
                      <a:pt x="18818" y="8052"/>
                    </a:cubicBezTo>
                    <a:cubicBezTo>
                      <a:pt x="18790" y="8090"/>
                      <a:pt x="18736" y="8090"/>
                      <a:pt x="18709" y="8128"/>
                    </a:cubicBezTo>
                    <a:cubicBezTo>
                      <a:pt x="18654" y="8165"/>
                      <a:pt x="18600" y="8165"/>
                      <a:pt x="18545" y="8203"/>
                    </a:cubicBezTo>
                    <a:lnTo>
                      <a:pt x="18163" y="8203"/>
                    </a:lnTo>
                    <a:cubicBezTo>
                      <a:pt x="18109" y="8165"/>
                      <a:pt x="18054" y="8165"/>
                      <a:pt x="18000" y="8128"/>
                    </a:cubicBezTo>
                    <a:lnTo>
                      <a:pt x="17672" y="8128"/>
                    </a:lnTo>
                    <a:lnTo>
                      <a:pt x="17563" y="8278"/>
                    </a:lnTo>
                    <a:lnTo>
                      <a:pt x="17563" y="8429"/>
                    </a:lnTo>
                    <a:cubicBezTo>
                      <a:pt x="17590" y="8466"/>
                      <a:pt x="17590" y="8542"/>
                      <a:pt x="17618" y="8579"/>
                    </a:cubicBezTo>
                    <a:lnTo>
                      <a:pt x="17618" y="8956"/>
                    </a:lnTo>
                    <a:lnTo>
                      <a:pt x="17509" y="9106"/>
                    </a:lnTo>
                    <a:lnTo>
                      <a:pt x="17345" y="9106"/>
                    </a:lnTo>
                    <a:cubicBezTo>
                      <a:pt x="17318" y="9068"/>
                      <a:pt x="17263" y="9068"/>
                      <a:pt x="17236" y="9031"/>
                    </a:cubicBezTo>
                    <a:lnTo>
                      <a:pt x="17127" y="9031"/>
                    </a:lnTo>
                    <a:lnTo>
                      <a:pt x="17127" y="9859"/>
                    </a:lnTo>
                    <a:lnTo>
                      <a:pt x="16963" y="10085"/>
                    </a:lnTo>
                    <a:cubicBezTo>
                      <a:pt x="16936" y="10122"/>
                      <a:pt x="16881" y="10122"/>
                      <a:pt x="16854" y="10160"/>
                    </a:cubicBezTo>
                    <a:cubicBezTo>
                      <a:pt x="16799" y="10197"/>
                      <a:pt x="16745" y="10273"/>
                      <a:pt x="16690" y="10310"/>
                    </a:cubicBezTo>
                    <a:cubicBezTo>
                      <a:pt x="16663" y="10348"/>
                      <a:pt x="16609" y="10348"/>
                      <a:pt x="16581" y="10386"/>
                    </a:cubicBezTo>
                    <a:lnTo>
                      <a:pt x="16472" y="10386"/>
                    </a:lnTo>
                    <a:lnTo>
                      <a:pt x="16418" y="10310"/>
                    </a:lnTo>
                    <a:lnTo>
                      <a:pt x="16363" y="10310"/>
                    </a:lnTo>
                    <a:lnTo>
                      <a:pt x="16363" y="10085"/>
                    </a:lnTo>
                    <a:cubicBezTo>
                      <a:pt x="16390" y="10047"/>
                      <a:pt x="16390" y="9972"/>
                      <a:pt x="16418" y="9934"/>
                    </a:cubicBezTo>
                    <a:cubicBezTo>
                      <a:pt x="16445" y="9896"/>
                      <a:pt x="16500" y="9896"/>
                      <a:pt x="16527" y="9859"/>
                    </a:cubicBezTo>
                    <a:cubicBezTo>
                      <a:pt x="16554" y="9821"/>
                      <a:pt x="16554" y="9746"/>
                      <a:pt x="16581" y="9708"/>
                    </a:cubicBezTo>
                    <a:lnTo>
                      <a:pt x="16581" y="9558"/>
                    </a:lnTo>
                    <a:cubicBezTo>
                      <a:pt x="16554" y="9520"/>
                      <a:pt x="16500" y="9520"/>
                      <a:pt x="16472" y="9482"/>
                    </a:cubicBezTo>
                    <a:lnTo>
                      <a:pt x="16363" y="9482"/>
                    </a:lnTo>
                    <a:cubicBezTo>
                      <a:pt x="16336" y="9520"/>
                      <a:pt x="16281" y="9520"/>
                      <a:pt x="16254" y="9558"/>
                    </a:cubicBezTo>
                    <a:cubicBezTo>
                      <a:pt x="16227" y="9595"/>
                      <a:pt x="16172" y="9595"/>
                      <a:pt x="16145" y="9633"/>
                    </a:cubicBezTo>
                    <a:cubicBezTo>
                      <a:pt x="16090" y="9671"/>
                      <a:pt x="16036" y="9746"/>
                      <a:pt x="15981" y="9783"/>
                    </a:cubicBezTo>
                    <a:lnTo>
                      <a:pt x="15872" y="9934"/>
                    </a:lnTo>
                    <a:cubicBezTo>
                      <a:pt x="15790" y="9972"/>
                      <a:pt x="15736" y="9972"/>
                      <a:pt x="15654" y="10009"/>
                    </a:cubicBezTo>
                    <a:lnTo>
                      <a:pt x="15218" y="10009"/>
                    </a:lnTo>
                    <a:lnTo>
                      <a:pt x="15163" y="9934"/>
                    </a:lnTo>
                    <a:lnTo>
                      <a:pt x="15109" y="9934"/>
                    </a:lnTo>
                    <a:lnTo>
                      <a:pt x="15000" y="10085"/>
                    </a:lnTo>
                    <a:lnTo>
                      <a:pt x="15000" y="10160"/>
                    </a:lnTo>
                    <a:cubicBezTo>
                      <a:pt x="15027" y="10197"/>
                      <a:pt x="15027" y="10273"/>
                      <a:pt x="15054" y="10310"/>
                    </a:cubicBezTo>
                    <a:cubicBezTo>
                      <a:pt x="15081" y="10348"/>
                      <a:pt x="15081" y="10423"/>
                      <a:pt x="15109" y="10461"/>
                    </a:cubicBezTo>
                    <a:cubicBezTo>
                      <a:pt x="15163" y="10498"/>
                      <a:pt x="15218" y="10574"/>
                      <a:pt x="15272" y="10611"/>
                    </a:cubicBezTo>
                    <a:cubicBezTo>
                      <a:pt x="15327" y="10649"/>
                      <a:pt x="15381" y="10724"/>
                      <a:pt x="15436" y="10762"/>
                    </a:cubicBezTo>
                    <a:lnTo>
                      <a:pt x="15654" y="11063"/>
                    </a:lnTo>
                    <a:cubicBezTo>
                      <a:pt x="15681" y="11101"/>
                      <a:pt x="15736" y="11101"/>
                      <a:pt x="15763" y="11138"/>
                    </a:cubicBezTo>
                    <a:lnTo>
                      <a:pt x="15818" y="11138"/>
                    </a:lnTo>
                    <a:cubicBezTo>
                      <a:pt x="15845" y="11101"/>
                      <a:pt x="15899" y="11101"/>
                      <a:pt x="15927" y="11063"/>
                    </a:cubicBezTo>
                    <a:lnTo>
                      <a:pt x="16090" y="11063"/>
                    </a:lnTo>
                    <a:cubicBezTo>
                      <a:pt x="16118" y="11025"/>
                      <a:pt x="16172" y="11025"/>
                      <a:pt x="16200" y="10988"/>
                    </a:cubicBezTo>
                    <a:lnTo>
                      <a:pt x="16363" y="10988"/>
                    </a:lnTo>
                    <a:cubicBezTo>
                      <a:pt x="16390" y="10950"/>
                      <a:pt x="16445" y="10950"/>
                      <a:pt x="16472" y="10912"/>
                    </a:cubicBezTo>
                    <a:lnTo>
                      <a:pt x="16636" y="10912"/>
                    </a:lnTo>
                    <a:cubicBezTo>
                      <a:pt x="16690" y="10950"/>
                      <a:pt x="16745" y="10950"/>
                      <a:pt x="16799" y="10988"/>
                    </a:cubicBezTo>
                    <a:cubicBezTo>
                      <a:pt x="16827" y="11025"/>
                      <a:pt x="16881" y="11025"/>
                      <a:pt x="16909" y="11063"/>
                    </a:cubicBezTo>
                    <a:lnTo>
                      <a:pt x="17018" y="11213"/>
                    </a:lnTo>
                    <a:lnTo>
                      <a:pt x="17018" y="11289"/>
                    </a:lnTo>
                    <a:cubicBezTo>
                      <a:pt x="16990" y="11326"/>
                      <a:pt x="16936" y="11326"/>
                      <a:pt x="16909" y="11364"/>
                    </a:cubicBezTo>
                    <a:cubicBezTo>
                      <a:pt x="16881" y="11402"/>
                      <a:pt x="16827" y="11402"/>
                      <a:pt x="16799" y="11439"/>
                    </a:cubicBezTo>
                    <a:cubicBezTo>
                      <a:pt x="16745" y="11477"/>
                      <a:pt x="16690" y="11477"/>
                      <a:pt x="16636" y="11514"/>
                    </a:cubicBezTo>
                    <a:cubicBezTo>
                      <a:pt x="16581" y="11552"/>
                      <a:pt x="16527" y="11552"/>
                      <a:pt x="16472" y="11590"/>
                    </a:cubicBezTo>
                    <a:lnTo>
                      <a:pt x="16363" y="11740"/>
                    </a:lnTo>
                    <a:cubicBezTo>
                      <a:pt x="16336" y="11778"/>
                      <a:pt x="16281" y="11778"/>
                      <a:pt x="16254" y="11816"/>
                    </a:cubicBezTo>
                    <a:cubicBezTo>
                      <a:pt x="16227" y="11853"/>
                      <a:pt x="16172" y="11853"/>
                      <a:pt x="16145" y="11891"/>
                    </a:cubicBezTo>
                    <a:lnTo>
                      <a:pt x="16090" y="11891"/>
                    </a:lnTo>
                    <a:lnTo>
                      <a:pt x="16036" y="11966"/>
                    </a:lnTo>
                    <a:cubicBezTo>
                      <a:pt x="16009" y="12004"/>
                      <a:pt x="15954" y="12004"/>
                      <a:pt x="15927" y="12041"/>
                    </a:cubicBezTo>
                    <a:cubicBezTo>
                      <a:pt x="15899" y="12079"/>
                      <a:pt x="15899" y="12154"/>
                      <a:pt x="15872" y="12192"/>
                    </a:cubicBezTo>
                    <a:lnTo>
                      <a:pt x="15818" y="12267"/>
                    </a:lnTo>
                    <a:lnTo>
                      <a:pt x="15818" y="12493"/>
                    </a:lnTo>
                    <a:cubicBezTo>
                      <a:pt x="15845" y="12531"/>
                      <a:pt x="15845" y="12606"/>
                      <a:pt x="15872" y="12643"/>
                    </a:cubicBezTo>
                    <a:cubicBezTo>
                      <a:pt x="15899" y="12719"/>
                      <a:pt x="15954" y="12794"/>
                      <a:pt x="15981" y="12869"/>
                    </a:cubicBezTo>
                    <a:cubicBezTo>
                      <a:pt x="16009" y="12944"/>
                      <a:pt x="16063" y="13020"/>
                      <a:pt x="16090" y="13095"/>
                    </a:cubicBezTo>
                    <a:lnTo>
                      <a:pt x="16200" y="13245"/>
                    </a:lnTo>
                    <a:cubicBezTo>
                      <a:pt x="16227" y="13321"/>
                      <a:pt x="16227" y="13396"/>
                      <a:pt x="16254" y="13471"/>
                    </a:cubicBezTo>
                    <a:cubicBezTo>
                      <a:pt x="16281" y="13509"/>
                      <a:pt x="16281" y="13584"/>
                      <a:pt x="16309" y="13622"/>
                    </a:cubicBezTo>
                    <a:lnTo>
                      <a:pt x="16363" y="13697"/>
                    </a:lnTo>
                    <a:lnTo>
                      <a:pt x="16363" y="13772"/>
                    </a:lnTo>
                    <a:cubicBezTo>
                      <a:pt x="16445" y="14073"/>
                      <a:pt x="16500" y="14374"/>
                      <a:pt x="16581" y="14675"/>
                    </a:cubicBezTo>
                    <a:lnTo>
                      <a:pt x="16636" y="14675"/>
                    </a:lnTo>
                    <a:lnTo>
                      <a:pt x="16636" y="14826"/>
                    </a:lnTo>
                    <a:cubicBezTo>
                      <a:pt x="16663" y="14864"/>
                      <a:pt x="16663" y="14939"/>
                      <a:pt x="16690" y="14977"/>
                    </a:cubicBezTo>
                    <a:cubicBezTo>
                      <a:pt x="16718" y="15014"/>
                      <a:pt x="16718" y="15089"/>
                      <a:pt x="16745" y="15127"/>
                    </a:cubicBezTo>
                    <a:lnTo>
                      <a:pt x="16745" y="15880"/>
                    </a:lnTo>
                    <a:cubicBezTo>
                      <a:pt x="16718" y="15917"/>
                      <a:pt x="16718" y="15993"/>
                      <a:pt x="16690" y="16030"/>
                    </a:cubicBezTo>
                    <a:cubicBezTo>
                      <a:pt x="16663" y="16068"/>
                      <a:pt x="16663" y="16143"/>
                      <a:pt x="16636" y="16181"/>
                    </a:cubicBezTo>
                    <a:lnTo>
                      <a:pt x="16527" y="16331"/>
                    </a:lnTo>
                    <a:lnTo>
                      <a:pt x="16527" y="16406"/>
                    </a:lnTo>
                    <a:lnTo>
                      <a:pt x="16472" y="16482"/>
                    </a:lnTo>
                    <a:cubicBezTo>
                      <a:pt x="16363" y="16745"/>
                      <a:pt x="16254" y="16971"/>
                      <a:pt x="16145" y="17234"/>
                    </a:cubicBezTo>
                    <a:cubicBezTo>
                      <a:pt x="16063" y="17535"/>
                      <a:pt x="15954" y="17836"/>
                      <a:pt x="15872" y="18137"/>
                    </a:cubicBezTo>
                    <a:cubicBezTo>
                      <a:pt x="15681" y="18401"/>
                      <a:pt x="15463" y="18627"/>
                      <a:pt x="15272" y="18890"/>
                    </a:cubicBezTo>
                    <a:cubicBezTo>
                      <a:pt x="15136" y="19003"/>
                      <a:pt x="14972" y="19154"/>
                      <a:pt x="14836" y="19266"/>
                    </a:cubicBezTo>
                    <a:cubicBezTo>
                      <a:pt x="14809" y="19379"/>
                      <a:pt x="14754" y="19455"/>
                      <a:pt x="14727" y="19567"/>
                    </a:cubicBezTo>
                    <a:lnTo>
                      <a:pt x="14618" y="19567"/>
                    </a:lnTo>
                    <a:cubicBezTo>
                      <a:pt x="14536" y="19605"/>
                      <a:pt x="14427" y="19605"/>
                      <a:pt x="14345" y="19643"/>
                    </a:cubicBezTo>
                    <a:lnTo>
                      <a:pt x="14018" y="19643"/>
                    </a:lnTo>
                    <a:cubicBezTo>
                      <a:pt x="13909" y="19605"/>
                      <a:pt x="13799" y="19605"/>
                      <a:pt x="13690" y="19567"/>
                    </a:cubicBezTo>
                    <a:cubicBezTo>
                      <a:pt x="13609" y="19718"/>
                      <a:pt x="13554" y="19868"/>
                      <a:pt x="13472" y="20019"/>
                    </a:cubicBezTo>
                    <a:cubicBezTo>
                      <a:pt x="13363" y="20057"/>
                      <a:pt x="13254" y="20057"/>
                      <a:pt x="13145" y="20094"/>
                    </a:cubicBezTo>
                    <a:lnTo>
                      <a:pt x="13036" y="20094"/>
                    </a:lnTo>
                    <a:cubicBezTo>
                      <a:pt x="13009" y="20132"/>
                      <a:pt x="12954" y="20132"/>
                      <a:pt x="12927" y="20170"/>
                    </a:cubicBezTo>
                    <a:lnTo>
                      <a:pt x="12872" y="20170"/>
                    </a:lnTo>
                    <a:cubicBezTo>
                      <a:pt x="12845" y="20207"/>
                      <a:pt x="12845" y="20282"/>
                      <a:pt x="12818" y="20320"/>
                    </a:cubicBezTo>
                    <a:lnTo>
                      <a:pt x="12763" y="20395"/>
                    </a:lnTo>
                    <a:lnTo>
                      <a:pt x="12763" y="20546"/>
                    </a:lnTo>
                    <a:cubicBezTo>
                      <a:pt x="12790" y="20621"/>
                      <a:pt x="12790" y="20696"/>
                      <a:pt x="12818" y="20772"/>
                    </a:cubicBezTo>
                    <a:lnTo>
                      <a:pt x="12818" y="21449"/>
                    </a:lnTo>
                    <a:lnTo>
                      <a:pt x="12763" y="21524"/>
                    </a:lnTo>
                    <a:cubicBezTo>
                      <a:pt x="12654" y="21562"/>
                      <a:pt x="12545" y="21562"/>
                      <a:pt x="12436" y="21600"/>
                    </a:cubicBezTo>
                    <a:lnTo>
                      <a:pt x="12381" y="21600"/>
                    </a:lnTo>
                    <a:lnTo>
                      <a:pt x="12272" y="21449"/>
                    </a:lnTo>
                    <a:lnTo>
                      <a:pt x="12272" y="21223"/>
                    </a:lnTo>
                    <a:cubicBezTo>
                      <a:pt x="12300" y="21186"/>
                      <a:pt x="12300" y="21110"/>
                      <a:pt x="12327" y="21073"/>
                    </a:cubicBezTo>
                    <a:lnTo>
                      <a:pt x="12436" y="20922"/>
                    </a:lnTo>
                    <a:cubicBezTo>
                      <a:pt x="12463" y="20885"/>
                      <a:pt x="12463" y="20809"/>
                      <a:pt x="12490" y="20772"/>
                    </a:cubicBezTo>
                    <a:cubicBezTo>
                      <a:pt x="12518" y="20734"/>
                      <a:pt x="12518" y="20659"/>
                      <a:pt x="12545" y="20621"/>
                    </a:cubicBezTo>
                    <a:lnTo>
                      <a:pt x="12545" y="20471"/>
                    </a:lnTo>
                    <a:cubicBezTo>
                      <a:pt x="12518" y="20433"/>
                      <a:pt x="12518" y="20358"/>
                      <a:pt x="12490" y="20320"/>
                    </a:cubicBezTo>
                    <a:lnTo>
                      <a:pt x="12436" y="20245"/>
                    </a:lnTo>
                    <a:cubicBezTo>
                      <a:pt x="12409" y="20207"/>
                      <a:pt x="12354" y="20207"/>
                      <a:pt x="12327" y="20170"/>
                    </a:cubicBezTo>
                    <a:lnTo>
                      <a:pt x="12218" y="20170"/>
                    </a:lnTo>
                    <a:cubicBezTo>
                      <a:pt x="12190" y="20132"/>
                      <a:pt x="12136" y="20132"/>
                      <a:pt x="12109" y="20094"/>
                    </a:cubicBezTo>
                    <a:lnTo>
                      <a:pt x="12054" y="20019"/>
                    </a:lnTo>
                    <a:cubicBezTo>
                      <a:pt x="12027" y="20057"/>
                      <a:pt x="11972" y="20057"/>
                      <a:pt x="11945" y="20094"/>
                    </a:cubicBezTo>
                    <a:cubicBezTo>
                      <a:pt x="11918" y="20132"/>
                      <a:pt x="11863" y="20132"/>
                      <a:pt x="11836" y="20170"/>
                    </a:cubicBezTo>
                    <a:lnTo>
                      <a:pt x="11836" y="20245"/>
                    </a:lnTo>
                    <a:lnTo>
                      <a:pt x="11781" y="20245"/>
                    </a:lnTo>
                    <a:cubicBezTo>
                      <a:pt x="11754" y="20132"/>
                      <a:pt x="11754" y="19981"/>
                      <a:pt x="11727" y="19868"/>
                    </a:cubicBezTo>
                    <a:lnTo>
                      <a:pt x="11400" y="19417"/>
                    </a:lnTo>
                    <a:cubicBezTo>
                      <a:pt x="11345" y="19379"/>
                      <a:pt x="11290" y="19379"/>
                      <a:pt x="11236" y="19342"/>
                    </a:cubicBezTo>
                    <a:cubicBezTo>
                      <a:pt x="11209" y="19379"/>
                      <a:pt x="11154" y="19379"/>
                      <a:pt x="11127" y="19417"/>
                    </a:cubicBezTo>
                    <a:lnTo>
                      <a:pt x="10636" y="19417"/>
                    </a:lnTo>
                    <a:cubicBezTo>
                      <a:pt x="10609" y="19379"/>
                      <a:pt x="10554" y="19379"/>
                      <a:pt x="10527" y="19342"/>
                    </a:cubicBezTo>
                    <a:lnTo>
                      <a:pt x="10145" y="19342"/>
                    </a:lnTo>
                    <a:lnTo>
                      <a:pt x="10090" y="19417"/>
                    </a:lnTo>
                    <a:lnTo>
                      <a:pt x="9927" y="19417"/>
                    </a:lnTo>
                    <a:lnTo>
                      <a:pt x="9872" y="19492"/>
                    </a:lnTo>
                    <a:lnTo>
                      <a:pt x="9872" y="19643"/>
                    </a:lnTo>
                    <a:cubicBezTo>
                      <a:pt x="9845" y="19680"/>
                      <a:pt x="9790" y="19680"/>
                      <a:pt x="9763" y="19718"/>
                    </a:cubicBezTo>
                    <a:lnTo>
                      <a:pt x="9709" y="19793"/>
                    </a:lnTo>
                    <a:lnTo>
                      <a:pt x="9709" y="20019"/>
                    </a:lnTo>
                    <a:cubicBezTo>
                      <a:pt x="9736" y="20094"/>
                      <a:pt x="9736" y="20170"/>
                      <a:pt x="9763" y="20245"/>
                    </a:cubicBezTo>
                    <a:cubicBezTo>
                      <a:pt x="9736" y="20282"/>
                      <a:pt x="9736" y="20358"/>
                      <a:pt x="9709" y="20395"/>
                    </a:cubicBezTo>
                    <a:lnTo>
                      <a:pt x="9709" y="20471"/>
                    </a:lnTo>
                    <a:lnTo>
                      <a:pt x="9490" y="20471"/>
                    </a:lnTo>
                    <a:cubicBezTo>
                      <a:pt x="9436" y="20508"/>
                      <a:pt x="9381" y="20508"/>
                      <a:pt x="9327" y="20546"/>
                    </a:cubicBezTo>
                    <a:cubicBezTo>
                      <a:pt x="9300" y="20583"/>
                      <a:pt x="9245" y="20583"/>
                      <a:pt x="9218" y="20621"/>
                    </a:cubicBezTo>
                    <a:lnTo>
                      <a:pt x="9054" y="20621"/>
                    </a:lnTo>
                    <a:lnTo>
                      <a:pt x="9054" y="20395"/>
                    </a:lnTo>
                    <a:cubicBezTo>
                      <a:pt x="9081" y="20358"/>
                      <a:pt x="9081" y="20282"/>
                      <a:pt x="9109" y="20245"/>
                    </a:cubicBezTo>
                    <a:lnTo>
                      <a:pt x="9109" y="20094"/>
                    </a:lnTo>
                    <a:cubicBezTo>
                      <a:pt x="9027" y="20019"/>
                      <a:pt x="8972" y="19944"/>
                      <a:pt x="8890" y="19868"/>
                    </a:cubicBezTo>
                    <a:cubicBezTo>
                      <a:pt x="8836" y="19906"/>
                      <a:pt x="8781" y="19906"/>
                      <a:pt x="8727" y="19944"/>
                    </a:cubicBezTo>
                    <a:lnTo>
                      <a:pt x="8618" y="19944"/>
                    </a:lnTo>
                    <a:cubicBezTo>
                      <a:pt x="8590" y="19906"/>
                      <a:pt x="8536" y="19906"/>
                      <a:pt x="8509" y="19868"/>
                    </a:cubicBezTo>
                    <a:lnTo>
                      <a:pt x="8399" y="19718"/>
                    </a:lnTo>
                    <a:lnTo>
                      <a:pt x="8399" y="19567"/>
                    </a:lnTo>
                    <a:cubicBezTo>
                      <a:pt x="8427" y="19304"/>
                      <a:pt x="8481" y="19003"/>
                      <a:pt x="8509" y="18740"/>
                    </a:cubicBezTo>
                    <a:cubicBezTo>
                      <a:pt x="8536" y="18627"/>
                      <a:pt x="8590" y="18476"/>
                      <a:pt x="8618" y="18363"/>
                    </a:cubicBezTo>
                    <a:lnTo>
                      <a:pt x="8727" y="18213"/>
                    </a:lnTo>
                    <a:cubicBezTo>
                      <a:pt x="8700" y="18025"/>
                      <a:pt x="8645" y="17874"/>
                      <a:pt x="8618" y="17686"/>
                    </a:cubicBezTo>
                    <a:lnTo>
                      <a:pt x="8454" y="17234"/>
                    </a:lnTo>
                    <a:lnTo>
                      <a:pt x="8290" y="17009"/>
                    </a:lnTo>
                    <a:cubicBezTo>
                      <a:pt x="8263" y="16971"/>
                      <a:pt x="8209" y="16971"/>
                      <a:pt x="8181" y="16933"/>
                    </a:cubicBezTo>
                    <a:lnTo>
                      <a:pt x="8181" y="16858"/>
                    </a:lnTo>
                    <a:lnTo>
                      <a:pt x="8127" y="16858"/>
                    </a:lnTo>
                    <a:cubicBezTo>
                      <a:pt x="7827" y="16896"/>
                      <a:pt x="7500" y="16971"/>
                      <a:pt x="7200" y="17009"/>
                    </a:cubicBezTo>
                    <a:cubicBezTo>
                      <a:pt x="7090" y="16971"/>
                      <a:pt x="6981" y="16971"/>
                      <a:pt x="6872" y="16933"/>
                    </a:cubicBezTo>
                    <a:lnTo>
                      <a:pt x="6763" y="16783"/>
                    </a:lnTo>
                    <a:cubicBezTo>
                      <a:pt x="6709" y="16745"/>
                      <a:pt x="6654" y="16670"/>
                      <a:pt x="6600" y="16632"/>
                    </a:cubicBezTo>
                    <a:cubicBezTo>
                      <a:pt x="6518" y="16595"/>
                      <a:pt x="6409" y="16595"/>
                      <a:pt x="6327" y="16557"/>
                    </a:cubicBezTo>
                    <a:lnTo>
                      <a:pt x="6054" y="16557"/>
                    </a:lnTo>
                    <a:cubicBezTo>
                      <a:pt x="5999" y="16519"/>
                      <a:pt x="5945" y="16519"/>
                      <a:pt x="5890" y="16482"/>
                    </a:cubicBezTo>
                    <a:cubicBezTo>
                      <a:pt x="5809" y="16519"/>
                      <a:pt x="5754" y="16519"/>
                      <a:pt x="5672" y="16557"/>
                    </a:cubicBezTo>
                    <a:cubicBezTo>
                      <a:pt x="5590" y="16595"/>
                      <a:pt x="5536" y="16670"/>
                      <a:pt x="5454" y="16708"/>
                    </a:cubicBezTo>
                    <a:cubicBezTo>
                      <a:pt x="5427" y="16745"/>
                      <a:pt x="5372" y="16745"/>
                      <a:pt x="5345" y="16783"/>
                    </a:cubicBezTo>
                    <a:lnTo>
                      <a:pt x="5236" y="16933"/>
                    </a:lnTo>
                    <a:cubicBezTo>
                      <a:pt x="5209" y="16971"/>
                      <a:pt x="5154" y="16971"/>
                      <a:pt x="5127" y="17009"/>
                    </a:cubicBezTo>
                    <a:lnTo>
                      <a:pt x="5072" y="17084"/>
                    </a:lnTo>
                    <a:lnTo>
                      <a:pt x="5072" y="17009"/>
                    </a:lnTo>
                    <a:lnTo>
                      <a:pt x="5018" y="16933"/>
                    </a:lnTo>
                    <a:lnTo>
                      <a:pt x="5018" y="16858"/>
                    </a:lnTo>
                    <a:lnTo>
                      <a:pt x="4963" y="16933"/>
                    </a:lnTo>
                    <a:lnTo>
                      <a:pt x="4854" y="16933"/>
                    </a:lnTo>
                    <a:lnTo>
                      <a:pt x="4854" y="17009"/>
                    </a:lnTo>
                    <a:cubicBezTo>
                      <a:pt x="4281" y="16820"/>
                      <a:pt x="3681" y="16670"/>
                      <a:pt x="3109" y="16482"/>
                    </a:cubicBezTo>
                    <a:cubicBezTo>
                      <a:pt x="2863" y="16218"/>
                      <a:pt x="2645" y="15917"/>
                      <a:pt x="2400" y="15654"/>
                    </a:cubicBezTo>
                    <a:cubicBezTo>
                      <a:pt x="2345" y="15466"/>
                      <a:pt x="2290" y="15315"/>
                      <a:pt x="2236" y="15127"/>
                    </a:cubicBezTo>
                    <a:lnTo>
                      <a:pt x="2236" y="14751"/>
                    </a:lnTo>
                    <a:cubicBezTo>
                      <a:pt x="2290" y="14638"/>
                      <a:pt x="2345" y="14563"/>
                      <a:pt x="2400" y="14450"/>
                    </a:cubicBezTo>
                    <a:lnTo>
                      <a:pt x="2509" y="14299"/>
                    </a:lnTo>
                    <a:lnTo>
                      <a:pt x="2563" y="14299"/>
                    </a:lnTo>
                    <a:cubicBezTo>
                      <a:pt x="2509" y="14111"/>
                      <a:pt x="2454" y="13960"/>
                      <a:pt x="2400" y="13772"/>
                    </a:cubicBezTo>
                    <a:cubicBezTo>
                      <a:pt x="2481" y="13735"/>
                      <a:pt x="2536" y="13659"/>
                      <a:pt x="2618" y="13622"/>
                    </a:cubicBezTo>
                    <a:cubicBezTo>
                      <a:pt x="2590" y="13584"/>
                      <a:pt x="2590" y="13509"/>
                      <a:pt x="2563" y="13471"/>
                    </a:cubicBezTo>
                    <a:cubicBezTo>
                      <a:pt x="2536" y="13434"/>
                      <a:pt x="2536" y="13358"/>
                      <a:pt x="2509" y="13321"/>
                    </a:cubicBezTo>
                    <a:lnTo>
                      <a:pt x="2509" y="13170"/>
                    </a:lnTo>
                    <a:lnTo>
                      <a:pt x="2454" y="13095"/>
                    </a:lnTo>
                    <a:lnTo>
                      <a:pt x="2454" y="13020"/>
                    </a:lnTo>
                    <a:cubicBezTo>
                      <a:pt x="2427" y="12982"/>
                      <a:pt x="2427" y="12907"/>
                      <a:pt x="2400" y="12869"/>
                    </a:cubicBezTo>
                    <a:lnTo>
                      <a:pt x="2345" y="12794"/>
                    </a:lnTo>
                    <a:cubicBezTo>
                      <a:pt x="2318" y="12756"/>
                      <a:pt x="2263" y="12756"/>
                      <a:pt x="2236" y="12719"/>
                    </a:cubicBezTo>
                    <a:cubicBezTo>
                      <a:pt x="2181" y="12681"/>
                      <a:pt x="2127" y="12681"/>
                      <a:pt x="2072" y="12643"/>
                    </a:cubicBezTo>
                    <a:lnTo>
                      <a:pt x="1963" y="12643"/>
                    </a:lnTo>
                    <a:cubicBezTo>
                      <a:pt x="1909" y="12606"/>
                      <a:pt x="1854" y="12606"/>
                      <a:pt x="1800" y="12568"/>
                    </a:cubicBezTo>
                    <a:cubicBezTo>
                      <a:pt x="1772" y="12531"/>
                      <a:pt x="1718" y="12531"/>
                      <a:pt x="1690" y="12493"/>
                    </a:cubicBezTo>
                    <a:lnTo>
                      <a:pt x="1581" y="12342"/>
                    </a:lnTo>
                    <a:cubicBezTo>
                      <a:pt x="1499" y="12380"/>
                      <a:pt x="1445" y="12380"/>
                      <a:pt x="1363" y="12418"/>
                    </a:cubicBezTo>
                    <a:cubicBezTo>
                      <a:pt x="1172" y="12455"/>
                      <a:pt x="1009" y="12455"/>
                      <a:pt x="818" y="12493"/>
                    </a:cubicBezTo>
                    <a:cubicBezTo>
                      <a:pt x="790" y="12267"/>
                      <a:pt x="790" y="12041"/>
                      <a:pt x="763" y="11816"/>
                    </a:cubicBezTo>
                    <a:lnTo>
                      <a:pt x="599" y="11590"/>
                    </a:lnTo>
                    <a:cubicBezTo>
                      <a:pt x="572" y="11552"/>
                      <a:pt x="572" y="11477"/>
                      <a:pt x="545" y="11439"/>
                    </a:cubicBezTo>
                    <a:cubicBezTo>
                      <a:pt x="518" y="11402"/>
                      <a:pt x="518" y="11326"/>
                      <a:pt x="490" y="11289"/>
                    </a:cubicBezTo>
                    <a:cubicBezTo>
                      <a:pt x="463" y="11213"/>
                      <a:pt x="463" y="11138"/>
                      <a:pt x="436" y="11063"/>
                    </a:cubicBezTo>
                    <a:lnTo>
                      <a:pt x="436" y="10912"/>
                    </a:lnTo>
                    <a:cubicBezTo>
                      <a:pt x="409" y="10875"/>
                      <a:pt x="409" y="10800"/>
                      <a:pt x="381" y="10762"/>
                    </a:cubicBezTo>
                    <a:lnTo>
                      <a:pt x="272" y="10611"/>
                    </a:lnTo>
                    <a:lnTo>
                      <a:pt x="163" y="10611"/>
                    </a:lnTo>
                    <a:lnTo>
                      <a:pt x="109" y="10536"/>
                    </a:lnTo>
                    <a:lnTo>
                      <a:pt x="54" y="10536"/>
                    </a:lnTo>
                    <a:cubicBezTo>
                      <a:pt x="27" y="10498"/>
                      <a:pt x="27" y="10423"/>
                      <a:pt x="0" y="10386"/>
                    </a:cubicBezTo>
                    <a:lnTo>
                      <a:pt x="0" y="9934"/>
                    </a:lnTo>
                    <a:cubicBezTo>
                      <a:pt x="27" y="9896"/>
                      <a:pt x="27" y="9821"/>
                      <a:pt x="54" y="9783"/>
                    </a:cubicBezTo>
                    <a:cubicBezTo>
                      <a:pt x="81" y="9746"/>
                      <a:pt x="81" y="9671"/>
                      <a:pt x="109" y="9633"/>
                    </a:cubicBezTo>
                    <a:cubicBezTo>
                      <a:pt x="136" y="9595"/>
                      <a:pt x="190" y="9595"/>
                      <a:pt x="218" y="9558"/>
                    </a:cubicBezTo>
                    <a:cubicBezTo>
                      <a:pt x="245" y="9520"/>
                      <a:pt x="299" y="9520"/>
                      <a:pt x="327" y="9482"/>
                    </a:cubicBezTo>
                    <a:lnTo>
                      <a:pt x="490" y="9482"/>
                    </a:lnTo>
                    <a:cubicBezTo>
                      <a:pt x="572" y="9520"/>
                      <a:pt x="681" y="9520"/>
                      <a:pt x="763" y="9558"/>
                    </a:cubicBezTo>
                    <a:cubicBezTo>
                      <a:pt x="872" y="9445"/>
                      <a:pt x="981" y="9370"/>
                      <a:pt x="1090" y="9257"/>
                    </a:cubicBezTo>
                    <a:lnTo>
                      <a:pt x="1199" y="9106"/>
                    </a:lnTo>
                    <a:lnTo>
                      <a:pt x="1309" y="9106"/>
                    </a:lnTo>
                    <a:cubicBezTo>
                      <a:pt x="1363" y="9068"/>
                      <a:pt x="1418" y="9068"/>
                      <a:pt x="1472" y="9031"/>
                    </a:cubicBezTo>
                    <a:lnTo>
                      <a:pt x="1636" y="9031"/>
                    </a:lnTo>
                    <a:cubicBezTo>
                      <a:pt x="1663" y="8993"/>
                      <a:pt x="1718" y="8993"/>
                      <a:pt x="1745" y="8956"/>
                    </a:cubicBezTo>
                    <a:cubicBezTo>
                      <a:pt x="1800" y="8918"/>
                      <a:pt x="1854" y="8918"/>
                      <a:pt x="1909" y="8880"/>
                    </a:cubicBezTo>
                    <a:lnTo>
                      <a:pt x="2018" y="8730"/>
                    </a:lnTo>
                    <a:cubicBezTo>
                      <a:pt x="2045" y="8655"/>
                      <a:pt x="2099" y="8579"/>
                      <a:pt x="2127" y="8504"/>
                    </a:cubicBezTo>
                    <a:cubicBezTo>
                      <a:pt x="2154" y="8429"/>
                      <a:pt x="2154" y="8354"/>
                      <a:pt x="2181" y="8278"/>
                    </a:cubicBezTo>
                    <a:lnTo>
                      <a:pt x="2236" y="8203"/>
                    </a:lnTo>
                    <a:lnTo>
                      <a:pt x="2236" y="8128"/>
                    </a:lnTo>
                    <a:cubicBezTo>
                      <a:pt x="2263" y="8090"/>
                      <a:pt x="2263" y="8015"/>
                      <a:pt x="2290" y="7977"/>
                    </a:cubicBezTo>
                    <a:lnTo>
                      <a:pt x="2290" y="7601"/>
                    </a:lnTo>
                    <a:lnTo>
                      <a:pt x="2181" y="7601"/>
                    </a:lnTo>
                    <a:cubicBezTo>
                      <a:pt x="2154" y="7563"/>
                      <a:pt x="2154" y="7488"/>
                      <a:pt x="2127" y="7450"/>
                    </a:cubicBezTo>
                    <a:lnTo>
                      <a:pt x="2072" y="7375"/>
                    </a:lnTo>
                    <a:cubicBezTo>
                      <a:pt x="2045" y="7337"/>
                      <a:pt x="2045" y="7262"/>
                      <a:pt x="2018" y="7225"/>
                    </a:cubicBezTo>
                    <a:lnTo>
                      <a:pt x="2018" y="6999"/>
                    </a:lnTo>
                    <a:cubicBezTo>
                      <a:pt x="2072" y="6961"/>
                      <a:pt x="2127" y="6961"/>
                      <a:pt x="2181" y="6924"/>
                    </a:cubicBezTo>
                    <a:cubicBezTo>
                      <a:pt x="2209" y="6886"/>
                      <a:pt x="2263" y="6886"/>
                      <a:pt x="2290" y="6848"/>
                    </a:cubicBezTo>
                    <a:lnTo>
                      <a:pt x="2345" y="6848"/>
                    </a:lnTo>
                    <a:lnTo>
                      <a:pt x="2454" y="6698"/>
                    </a:lnTo>
                    <a:lnTo>
                      <a:pt x="2454" y="6472"/>
                    </a:lnTo>
                    <a:lnTo>
                      <a:pt x="2563" y="6472"/>
                    </a:lnTo>
                    <a:cubicBezTo>
                      <a:pt x="2590" y="6434"/>
                      <a:pt x="2645" y="6434"/>
                      <a:pt x="2672" y="6397"/>
                    </a:cubicBezTo>
                    <a:lnTo>
                      <a:pt x="2781" y="6397"/>
                    </a:lnTo>
                    <a:cubicBezTo>
                      <a:pt x="2809" y="6359"/>
                      <a:pt x="2863" y="6359"/>
                      <a:pt x="2890" y="6321"/>
                    </a:cubicBezTo>
                    <a:lnTo>
                      <a:pt x="2999" y="6171"/>
                    </a:lnTo>
                    <a:cubicBezTo>
                      <a:pt x="3027" y="6096"/>
                      <a:pt x="3027" y="6020"/>
                      <a:pt x="3054" y="5945"/>
                    </a:cubicBezTo>
                    <a:cubicBezTo>
                      <a:pt x="3081" y="5870"/>
                      <a:pt x="3136" y="5795"/>
                      <a:pt x="3163" y="5719"/>
                    </a:cubicBezTo>
                    <a:lnTo>
                      <a:pt x="3163" y="5343"/>
                    </a:lnTo>
                    <a:cubicBezTo>
                      <a:pt x="3190" y="5268"/>
                      <a:pt x="3245" y="5193"/>
                      <a:pt x="3272" y="5117"/>
                    </a:cubicBezTo>
                    <a:cubicBezTo>
                      <a:pt x="3300" y="5080"/>
                      <a:pt x="3354" y="5080"/>
                      <a:pt x="3381" y="5042"/>
                    </a:cubicBezTo>
                    <a:cubicBezTo>
                      <a:pt x="3409" y="5004"/>
                      <a:pt x="3463" y="5004"/>
                      <a:pt x="3490" y="4967"/>
                    </a:cubicBezTo>
                    <a:cubicBezTo>
                      <a:pt x="3545" y="4929"/>
                      <a:pt x="3600" y="4929"/>
                      <a:pt x="3654" y="4891"/>
                    </a:cubicBezTo>
                    <a:lnTo>
                      <a:pt x="3818" y="4891"/>
                    </a:lnTo>
                    <a:cubicBezTo>
                      <a:pt x="3845" y="4854"/>
                      <a:pt x="3900" y="4854"/>
                      <a:pt x="3927" y="4816"/>
                    </a:cubicBezTo>
                    <a:cubicBezTo>
                      <a:pt x="3954" y="4779"/>
                      <a:pt x="3954" y="4703"/>
                      <a:pt x="3981" y="4666"/>
                    </a:cubicBezTo>
                    <a:cubicBezTo>
                      <a:pt x="4009" y="4628"/>
                      <a:pt x="4009" y="4553"/>
                      <a:pt x="4036" y="4515"/>
                    </a:cubicBezTo>
                    <a:cubicBezTo>
                      <a:pt x="4063" y="4440"/>
                      <a:pt x="4063" y="4365"/>
                      <a:pt x="4090" y="4289"/>
                    </a:cubicBezTo>
                    <a:lnTo>
                      <a:pt x="4199" y="4139"/>
                    </a:lnTo>
                    <a:cubicBezTo>
                      <a:pt x="4227" y="4064"/>
                      <a:pt x="4281" y="3988"/>
                      <a:pt x="4309" y="3913"/>
                    </a:cubicBezTo>
                    <a:cubicBezTo>
                      <a:pt x="4363" y="3875"/>
                      <a:pt x="4418" y="3875"/>
                      <a:pt x="4472" y="3838"/>
                    </a:cubicBezTo>
                    <a:cubicBezTo>
                      <a:pt x="4554" y="3800"/>
                      <a:pt x="4609" y="3800"/>
                      <a:pt x="4690" y="3763"/>
                    </a:cubicBezTo>
                    <a:lnTo>
                      <a:pt x="4800" y="3763"/>
                    </a:lnTo>
                    <a:lnTo>
                      <a:pt x="4909" y="3612"/>
                    </a:lnTo>
                    <a:lnTo>
                      <a:pt x="4909" y="3236"/>
                    </a:lnTo>
                    <a:cubicBezTo>
                      <a:pt x="4936" y="3198"/>
                      <a:pt x="4936" y="3123"/>
                      <a:pt x="4963" y="3085"/>
                    </a:cubicBezTo>
                    <a:cubicBezTo>
                      <a:pt x="4990" y="3048"/>
                      <a:pt x="5045" y="3048"/>
                      <a:pt x="5072" y="3010"/>
                    </a:cubicBezTo>
                    <a:lnTo>
                      <a:pt x="5181" y="2859"/>
                    </a:lnTo>
                    <a:cubicBezTo>
                      <a:pt x="5209" y="2822"/>
                      <a:pt x="5263" y="2822"/>
                      <a:pt x="5290" y="2784"/>
                    </a:cubicBezTo>
                    <a:lnTo>
                      <a:pt x="5890" y="2784"/>
                    </a:lnTo>
                    <a:cubicBezTo>
                      <a:pt x="5700" y="2935"/>
                      <a:pt x="5481" y="3085"/>
                      <a:pt x="5290" y="3236"/>
                    </a:cubicBez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1" name="AutoShape 186"/>
              <p:cNvSpPr>
                <a:spLocks/>
              </p:cNvSpPr>
              <p:nvPr/>
            </p:nvSpPr>
            <p:spPr bwMode="auto">
              <a:xfrm>
                <a:off x="951200" y="1512048"/>
                <a:ext cx="76200" cy="5870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635" y="13885"/>
                    </a:moveTo>
                    <a:lnTo>
                      <a:pt x="635" y="12342"/>
                    </a:lnTo>
                    <a:lnTo>
                      <a:pt x="0" y="8485"/>
                    </a:lnTo>
                    <a:lnTo>
                      <a:pt x="635" y="3857"/>
                    </a:lnTo>
                    <a:lnTo>
                      <a:pt x="3176" y="1542"/>
                    </a:lnTo>
                    <a:lnTo>
                      <a:pt x="3176" y="771"/>
                    </a:lnTo>
                    <a:lnTo>
                      <a:pt x="4447" y="771"/>
                    </a:lnTo>
                    <a:lnTo>
                      <a:pt x="5082" y="0"/>
                    </a:lnTo>
                    <a:lnTo>
                      <a:pt x="6988" y="0"/>
                    </a:lnTo>
                    <a:lnTo>
                      <a:pt x="10800" y="1542"/>
                    </a:lnTo>
                    <a:lnTo>
                      <a:pt x="13341" y="3857"/>
                    </a:lnTo>
                    <a:lnTo>
                      <a:pt x="13976" y="3085"/>
                    </a:lnTo>
                    <a:lnTo>
                      <a:pt x="19058" y="3085"/>
                    </a:lnTo>
                    <a:lnTo>
                      <a:pt x="20329" y="3857"/>
                    </a:lnTo>
                    <a:lnTo>
                      <a:pt x="20964" y="4628"/>
                    </a:lnTo>
                    <a:lnTo>
                      <a:pt x="21600" y="6171"/>
                    </a:lnTo>
                    <a:lnTo>
                      <a:pt x="21600" y="6942"/>
                    </a:lnTo>
                    <a:lnTo>
                      <a:pt x="20964" y="8485"/>
                    </a:lnTo>
                    <a:lnTo>
                      <a:pt x="20964" y="10028"/>
                    </a:lnTo>
                    <a:lnTo>
                      <a:pt x="20329" y="11571"/>
                    </a:lnTo>
                    <a:lnTo>
                      <a:pt x="20329" y="13114"/>
                    </a:lnTo>
                    <a:lnTo>
                      <a:pt x="17152" y="14657"/>
                    </a:lnTo>
                    <a:lnTo>
                      <a:pt x="15882" y="16199"/>
                    </a:lnTo>
                    <a:lnTo>
                      <a:pt x="14611" y="16199"/>
                    </a:lnTo>
                    <a:lnTo>
                      <a:pt x="13341" y="20057"/>
                    </a:lnTo>
                    <a:lnTo>
                      <a:pt x="7623" y="21599"/>
                    </a:lnTo>
                    <a:lnTo>
                      <a:pt x="635" y="1388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2" name="AutoShape 187"/>
              <p:cNvSpPr>
                <a:spLocks/>
              </p:cNvSpPr>
              <p:nvPr/>
            </p:nvSpPr>
            <p:spPr bwMode="auto">
              <a:xfrm>
                <a:off x="1351251" y="1224869"/>
                <a:ext cx="39687" cy="4601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600" y="0"/>
                    </a:moveTo>
                    <a:lnTo>
                      <a:pt x="3600" y="981"/>
                    </a:lnTo>
                    <a:lnTo>
                      <a:pt x="1199" y="1963"/>
                    </a:lnTo>
                    <a:lnTo>
                      <a:pt x="0" y="2945"/>
                    </a:lnTo>
                    <a:lnTo>
                      <a:pt x="0" y="4909"/>
                    </a:lnTo>
                    <a:lnTo>
                      <a:pt x="1199" y="5890"/>
                    </a:lnTo>
                    <a:lnTo>
                      <a:pt x="2400" y="7854"/>
                    </a:lnTo>
                    <a:lnTo>
                      <a:pt x="4800" y="9818"/>
                    </a:lnTo>
                    <a:lnTo>
                      <a:pt x="6000" y="11781"/>
                    </a:lnTo>
                    <a:lnTo>
                      <a:pt x="8400" y="13745"/>
                    </a:lnTo>
                    <a:lnTo>
                      <a:pt x="9600" y="15709"/>
                    </a:lnTo>
                    <a:lnTo>
                      <a:pt x="9600" y="18654"/>
                    </a:lnTo>
                    <a:lnTo>
                      <a:pt x="10800" y="19636"/>
                    </a:lnTo>
                    <a:lnTo>
                      <a:pt x="10800" y="20618"/>
                    </a:lnTo>
                    <a:lnTo>
                      <a:pt x="13200" y="21599"/>
                    </a:lnTo>
                    <a:lnTo>
                      <a:pt x="15600" y="21599"/>
                    </a:lnTo>
                    <a:lnTo>
                      <a:pt x="18000" y="20618"/>
                    </a:lnTo>
                    <a:lnTo>
                      <a:pt x="20400" y="18654"/>
                    </a:lnTo>
                    <a:lnTo>
                      <a:pt x="20400" y="7854"/>
                    </a:lnTo>
                    <a:lnTo>
                      <a:pt x="21600" y="6872"/>
                    </a:lnTo>
                    <a:lnTo>
                      <a:pt x="20400" y="6872"/>
                    </a:lnTo>
                    <a:lnTo>
                      <a:pt x="19200" y="5890"/>
                    </a:lnTo>
                    <a:lnTo>
                      <a:pt x="16800" y="4909"/>
                    </a:lnTo>
                    <a:lnTo>
                      <a:pt x="14400" y="2945"/>
                    </a:lnTo>
                    <a:lnTo>
                      <a:pt x="12000" y="1963"/>
                    </a:lnTo>
                    <a:lnTo>
                      <a:pt x="7200" y="1963"/>
                    </a:lnTo>
                    <a:lnTo>
                      <a:pt x="6000" y="981"/>
                    </a:lnTo>
                    <a:lnTo>
                      <a:pt x="4800" y="981"/>
                    </a:lnTo>
                    <a:lnTo>
                      <a:pt x="360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3" name="AutoShape 188"/>
              <p:cNvSpPr>
                <a:spLocks/>
              </p:cNvSpPr>
              <p:nvPr/>
            </p:nvSpPr>
            <p:spPr bwMode="auto">
              <a:xfrm>
                <a:off x="1363951" y="1096352"/>
                <a:ext cx="163512" cy="12851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899" y="18767"/>
                    </a:moveTo>
                    <a:lnTo>
                      <a:pt x="0" y="20183"/>
                    </a:lnTo>
                    <a:lnTo>
                      <a:pt x="2099" y="20891"/>
                    </a:lnTo>
                    <a:lnTo>
                      <a:pt x="3300" y="20183"/>
                    </a:lnTo>
                    <a:lnTo>
                      <a:pt x="5700" y="19475"/>
                    </a:lnTo>
                    <a:lnTo>
                      <a:pt x="8700" y="18767"/>
                    </a:lnTo>
                    <a:lnTo>
                      <a:pt x="9300" y="20891"/>
                    </a:lnTo>
                    <a:lnTo>
                      <a:pt x="9300" y="21245"/>
                    </a:lnTo>
                    <a:lnTo>
                      <a:pt x="9900" y="21245"/>
                    </a:lnTo>
                    <a:lnTo>
                      <a:pt x="10200" y="21600"/>
                    </a:lnTo>
                    <a:lnTo>
                      <a:pt x="11100" y="21245"/>
                    </a:lnTo>
                    <a:lnTo>
                      <a:pt x="11700" y="20537"/>
                    </a:lnTo>
                    <a:lnTo>
                      <a:pt x="12300" y="20183"/>
                    </a:lnTo>
                    <a:lnTo>
                      <a:pt x="12600" y="19475"/>
                    </a:lnTo>
                    <a:lnTo>
                      <a:pt x="12900" y="19475"/>
                    </a:lnTo>
                    <a:lnTo>
                      <a:pt x="14999" y="18767"/>
                    </a:lnTo>
                    <a:lnTo>
                      <a:pt x="15299" y="18413"/>
                    </a:lnTo>
                    <a:lnTo>
                      <a:pt x="15600" y="18413"/>
                    </a:lnTo>
                    <a:lnTo>
                      <a:pt x="15900" y="17704"/>
                    </a:lnTo>
                    <a:lnTo>
                      <a:pt x="16800" y="17350"/>
                    </a:lnTo>
                    <a:lnTo>
                      <a:pt x="18000" y="15934"/>
                    </a:lnTo>
                    <a:lnTo>
                      <a:pt x="18600" y="15580"/>
                    </a:lnTo>
                    <a:lnTo>
                      <a:pt x="18900" y="14872"/>
                    </a:lnTo>
                    <a:lnTo>
                      <a:pt x="19500" y="14163"/>
                    </a:lnTo>
                    <a:lnTo>
                      <a:pt x="20700" y="11331"/>
                    </a:lnTo>
                    <a:lnTo>
                      <a:pt x="20700" y="9206"/>
                    </a:lnTo>
                    <a:lnTo>
                      <a:pt x="20400" y="8498"/>
                    </a:lnTo>
                    <a:lnTo>
                      <a:pt x="20400" y="7436"/>
                    </a:lnTo>
                    <a:lnTo>
                      <a:pt x="21000" y="6727"/>
                    </a:lnTo>
                    <a:lnTo>
                      <a:pt x="21600" y="5311"/>
                    </a:lnTo>
                    <a:lnTo>
                      <a:pt x="21600" y="3540"/>
                    </a:lnTo>
                    <a:lnTo>
                      <a:pt x="21300" y="2478"/>
                    </a:lnTo>
                    <a:lnTo>
                      <a:pt x="21300" y="1416"/>
                    </a:lnTo>
                    <a:lnTo>
                      <a:pt x="21000" y="708"/>
                    </a:lnTo>
                    <a:lnTo>
                      <a:pt x="21000" y="0"/>
                    </a:lnTo>
                    <a:lnTo>
                      <a:pt x="20400" y="0"/>
                    </a:lnTo>
                    <a:lnTo>
                      <a:pt x="19800" y="354"/>
                    </a:lnTo>
                    <a:lnTo>
                      <a:pt x="18900" y="708"/>
                    </a:lnTo>
                    <a:lnTo>
                      <a:pt x="17700" y="2124"/>
                    </a:lnTo>
                    <a:lnTo>
                      <a:pt x="17400" y="3186"/>
                    </a:lnTo>
                    <a:lnTo>
                      <a:pt x="17100" y="4603"/>
                    </a:lnTo>
                    <a:lnTo>
                      <a:pt x="17100" y="5665"/>
                    </a:lnTo>
                    <a:lnTo>
                      <a:pt x="16800" y="6727"/>
                    </a:lnTo>
                    <a:lnTo>
                      <a:pt x="16800" y="7790"/>
                    </a:lnTo>
                    <a:lnTo>
                      <a:pt x="16200" y="8498"/>
                    </a:lnTo>
                    <a:lnTo>
                      <a:pt x="15900" y="9206"/>
                    </a:lnTo>
                    <a:lnTo>
                      <a:pt x="15299" y="10268"/>
                    </a:lnTo>
                    <a:lnTo>
                      <a:pt x="14700" y="10977"/>
                    </a:lnTo>
                    <a:lnTo>
                      <a:pt x="14100" y="12039"/>
                    </a:lnTo>
                    <a:lnTo>
                      <a:pt x="11400" y="14163"/>
                    </a:lnTo>
                    <a:lnTo>
                      <a:pt x="10200" y="15580"/>
                    </a:lnTo>
                    <a:lnTo>
                      <a:pt x="9600" y="15934"/>
                    </a:lnTo>
                    <a:lnTo>
                      <a:pt x="6000" y="15934"/>
                    </a:lnTo>
                    <a:lnTo>
                      <a:pt x="3300" y="16996"/>
                    </a:lnTo>
                    <a:lnTo>
                      <a:pt x="899" y="18767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4" name="AutoShape 189"/>
              <p:cNvSpPr>
                <a:spLocks/>
              </p:cNvSpPr>
              <p:nvPr/>
            </p:nvSpPr>
            <p:spPr bwMode="auto">
              <a:xfrm>
                <a:off x="1387763" y="1218523"/>
                <a:ext cx="25400" cy="1586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7199" y="0"/>
                    </a:moveTo>
                    <a:lnTo>
                      <a:pt x="0" y="13499"/>
                    </a:lnTo>
                    <a:lnTo>
                      <a:pt x="7199" y="21600"/>
                    </a:lnTo>
                    <a:lnTo>
                      <a:pt x="16199" y="10800"/>
                    </a:lnTo>
                    <a:lnTo>
                      <a:pt x="21600" y="2699"/>
                    </a:lnTo>
                    <a:lnTo>
                      <a:pt x="719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5" name="AutoShape 190"/>
              <p:cNvSpPr>
                <a:spLocks/>
              </p:cNvSpPr>
              <p:nvPr/>
            </p:nvSpPr>
            <p:spPr bwMode="auto">
              <a:xfrm>
                <a:off x="1497301" y="1050340"/>
                <a:ext cx="88900" cy="6346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969" y="2160"/>
                    </a:moveTo>
                    <a:lnTo>
                      <a:pt x="8307" y="0"/>
                    </a:lnTo>
                    <a:lnTo>
                      <a:pt x="7753" y="0"/>
                    </a:lnTo>
                    <a:lnTo>
                      <a:pt x="6646" y="1440"/>
                    </a:lnTo>
                    <a:lnTo>
                      <a:pt x="6092" y="4320"/>
                    </a:lnTo>
                    <a:lnTo>
                      <a:pt x="5538" y="6480"/>
                    </a:lnTo>
                    <a:lnTo>
                      <a:pt x="5538" y="9360"/>
                    </a:lnTo>
                    <a:lnTo>
                      <a:pt x="4984" y="10080"/>
                    </a:lnTo>
                    <a:lnTo>
                      <a:pt x="4430" y="11520"/>
                    </a:lnTo>
                    <a:lnTo>
                      <a:pt x="3323" y="12960"/>
                    </a:lnTo>
                    <a:lnTo>
                      <a:pt x="2769" y="15120"/>
                    </a:lnTo>
                    <a:lnTo>
                      <a:pt x="0" y="18720"/>
                    </a:lnTo>
                    <a:lnTo>
                      <a:pt x="0" y="20160"/>
                    </a:lnTo>
                    <a:lnTo>
                      <a:pt x="1107" y="20160"/>
                    </a:lnTo>
                    <a:lnTo>
                      <a:pt x="2215" y="20880"/>
                    </a:lnTo>
                    <a:lnTo>
                      <a:pt x="7199" y="20880"/>
                    </a:lnTo>
                    <a:lnTo>
                      <a:pt x="8307" y="20160"/>
                    </a:lnTo>
                    <a:lnTo>
                      <a:pt x="8861" y="20160"/>
                    </a:lnTo>
                    <a:lnTo>
                      <a:pt x="10523" y="21600"/>
                    </a:lnTo>
                    <a:lnTo>
                      <a:pt x="13292" y="20880"/>
                    </a:lnTo>
                    <a:lnTo>
                      <a:pt x="13846" y="20160"/>
                    </a:lnTo>
                    <a:lnTo>
                      <a:pt x="14399" y="18720"/>
                    </a:lnTo>
                    <a:lnTo>
                      <a:pt x="14953" y="18000"/>
                    </a:lnTo>
                    <a:lnTo>
                      <a:pt x="15507" y="16560"/>
                    </a:lnTo>
                    <a:lnTo>
                      <a:pt x="16615" y="15840"/>
                    </a:lnTo>
                    <a:lnTo>
                      <a:pt x="17723" y="15840"/>
                    </a:lnTo>
                    <a:lnTo>
                      <a:pt x="18276" y="15120"/>
                    </a:lnTo>
                    <a:lnTo>
                      <a:pt x="19384" y="14400"/>
                    </a:lnTo>
                    <a:lnTo>
                      <a:pt x="21599" y="11520"/>
                    </a:lnTo>
                    <a:lnTo>
                      <a:pt x="21599" y="8640"/>
                    </a:lnTo>
                    <a:lnTo>
                      <a:pt x="20492" y="7200"/>
                    </a:lnTo>
                    <a:lnTo>
                      <a:pt x="19384" y="8640"/>
                    </a:lnTo>
                    <a:lnTo>
                      <a:pt x="18276" y="9360"/>
                    </a:lnTo>
                    <a:lnTo>
                      <a:pt x="17169" y="9360"/>
                    </a:lnTo>
                    <a:lnTo>
                      <a:pt x="16061" y="8640"/>
                    </a:lnTo>
                    <a:lnTo>
                      <a:pt x="12738" y="7200"/>
                    </a:lnTo>
                    <a:lnTo>
                      <a:pt x="10523" y="4320"/>
                    </a:lnTo>
                    <a:lnTo>
                      <a:pt x="9969" y="216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6" name="AutoShape 191"/>
              <p:cNvSpPr>
                <a:spLocks/>
              </p:cNvSpPr>
              <p:nvPr/>
            </p:nvSpPr>
            <p:spPr bwMode="auto">
              <a:xfrm>
                <a:off x="547975" y="1196310"/>
                <a:ext cx="90487" cy="3649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659" y="0"/>
                    </a:moveTo>
                    <a:lnTo>
                      <a:pt x="14039" y="1270"/>
                    </a:lnTo>
                    <a:lnTo>
                      <a:pt x="4319" y="1270"/>
                    </a:lnTo>
                    <a:lnTo>
                      <a:pt x="0" y="10164"/>
                    </a:lnTo>
                    <a:lnTo>
                      <a:pt x="0" y="13976"/>
                    </a:lnTo>
                    <a:lnTo>
                      <a:pt x="539" y="15247"/>
                    </a:lnTo>
                    <a:lnTo>
                      <a:pt x="539" y="17788"/>
                    </a:lnTo>
                    <a:lnTo>
                      <a:pt x="1079" y="19058"/>
                    </a:lnTo>
                    <a:lnTo>
                      <a:pt x="2159" y="19058"/>
                    </a:lnTo>
                    <a:lnTo>
                      <a:pt x="3240" y="17788"/>
                    </a:lnTo>
                    <a:lnTo>
                      <a:pt x="4319" y="17788"/>
                    </a:lnTo>
                    <a:lnTo>
                      <a:pt x="5399" y="19058"/>
                    </a:lnTo>
                    <a:lnTo>
                      <a:pt x="7019" y="21600"/>
                    </a:lnTo>
                    <a:lnTo>
                      <a:pt x="7019" y="20329"/>
                    </a:lnTo>
                    <a:lnTo>
                      <a:pt x="8100" y="17788"/>
                    </a:lnTo>
                    <a:lnTo>
                      <a:pt x="10800" y="16517"/>
                    </a:lnTo>
                    <a:lnTo>
                      <a:pt x="15659" y="15247"/>
                    </a:lnTo>
                    <a:lnTo>
                      <a:pt x="15659" y="12705"/>
                    </a:lnTo>
                    <a:lnTo>
                      <a:pt x="16200" y="10164"/>
                    </a:lnTo>
                    <a:lnTo>
                      <a:pt x="16739" y="8894"/>
                    </a:lnTo>
                    <a:lnTo>
                      <a:pt x="17820" y="7623"/>
                    </a:lnTo>
                    <a:lnTo>
                      <a:pt x="19440" y="6352"/>
                    </a:lnTo>
                    <a:lnTo>
                      <a:pt x="21600" y="6352"/>
                    </a:lnTo>
                    <a:lnTo>
                      <a:pt x="21060" y="5082"/>
                    </a:lnTo>
                    <a:lnTo>
                      <a:pt x="18899" y="5082"/>
                    </a:lnTo>
                    <a:lnTo>
                      <a:pt x="17279" y="3811"/>
                    </a:lnTo>
                    <a:lnTo>
                      <a:pt x="16200" y="2541"/>
                    </a:lnTo>
                    <a:lnTo>
                      <a:pt x="15659" y="0"/>
                    </a:lnTo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7" name="AutoShape 192"/>
              <p:cNvSpPr>
                <a:spLocks/>
              </p:cNvSpPr>
              <p:nvPr/>
            </p:nvSpPr>
            <p:spPr bwMode="auto">
              <a:xfrm>
                <a:off x="547975" y="1196310"/>
                <a:ext cx="90487" cy="3649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119" y="0"/>
                    </a:moveTo>
                    <a:lnTo>
                      <a:pt x="13499" y="1270"/>
                    </a:lnTo>
                    <a:lnTo>
                      <a:pt x="4319" y="1270"/>
                    </a:lnTo>
                    <a:lnTo>
                      <a:pt x="0" y="10164"/>
                    </a:lnTo>
                    <a:lnTo>
                      <a:pt x="0" y="13976"/>
                    </a:lnTo>
                    <a:lnTo>
                      <a:pt x="539" y="15247"/>
                    </a:lnTo>
                    <a:lnTo>
                      <a:pt x="539" y="17788"/>
                    </a:lnTo>
                    <a:lnTo>
                      <a:pt x="1079" y="19058"/>
                    </a:lnTo>
                    <a:lnTo>
                      <a:pt x="2159" y="19058"/>
                    </a:lnTo>
                    <a:lnTo>
                      <a:pt x="3240" y="17788"/>
                    </a:lnTo>
                    <a:lnTo>
                      <a:pt x="4319" y="17788"/>
                    </a:lnTo>
                    <a:lnTo>
                      <a:pt x="5399" y="19058"/>
                    </a:lnTo>
                    <a:lnTo>
                      <a:pt x="7019" y="21600"/>
                    </a:lnTo>
                    <a:lnTo>
                      <a:pt x="7019" y="20329"/>
                    </a:lnTo>
                    <a:lnTo>
                      <a:pt x="8100" y="17788"/>
                    </a:lnTo>
                    <a:lnTo>
                      <a:pt x="10800" y="16517"/>
                    </a:lnTo>
                    <a:lnTo>
                      <a:pt x="15659" y="15247"/>
                    </a:lnTo>
                    <a:lnTo>
                      <a:pt x="15659" y="12705"/>
                    </a:lnTo>
                    <a:lnTo>
                      <a:pt x="16200" y="10164"/>
                    </a:lnTo>
                    <a:lnTo>
                      <a:pt x="16739" y="8894"/>
                    </a:lnTo>
                    <a:lnTo>
                      <a:pt x="17820" y="7623"/>
                    </a:lnTo>
                    <a:lnTo>
                      <a:pt x="19440" y="6352"/>
                    </a:lnTo>
                    <a:lnTo>
                      <a:pt x="21600" y="6352"/>
                    </a:lnTo>
                    <a:lnTo>
                      <a:pt x="21060" y="5082"/>
                    </a:lnTo>
                    <a:lnTo>
                      <a:pt x="18899" y="5082"/>
                    </a:lnTo>
                    <a:lnTo>
                      <a:pt x="17279" y="3811"/>
                    </a:lnTo>
                    <a:lnTo>
                      <a:pt x="16200" y="2541"/>
                    </a:lnTo>
                    <a:lnTo>
                      <a:pt x="15119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8" name="AutoShape 194"/>
              <p:cNvSpPr>
                <a:spLocks/>
              </p:cNvSpPr>
              <p:nvPr/>
            </p:nvSpPr>
            <p:spPr bwMode="auto">
              <a:xfrm>
                <a:off x="287" y="1255015"/>
                <a:ext cx="325438" cy="26020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320" y="372"/>
                    </a:moveTo>
                    <a:lnTo>
                      <a:pt x="2720" y="744"/>
                    </a:lnTo>
                    <a:lnTo>
                      <a:pt x="3360" y="2048"/>
                    </a:lnTo>
                    <a:lnTo>
                      <a:pt x="3360" y="2234"/>
                    </a:lnTo>
                    <a:lnTo>
                      <a:pt x="2880" y="2793"/>
                    </a:lnTo>
                    <a:lnTo>
                      <a:pt x="2720" y="3165"/>
                    </a:lnTo>
                    <a:lnTo>
                      <a:pt x="2400" y="3351"/>
                    </a:lnTo>
                    <a:lnTo>
                      <a:pt x="1920" y="3910"/>
                    </a:lnTo>
                    <a:lnTo>
                      <a:pt x="0" y="3724"/>
                    </a:lnTo>
                    <a:lnTo>
                      <a:pt x="160" y="4282"/>
                    </a:lnTo>
                    <a:lnTo>
                      <a:pt x="480" y="5213"/>
                    </a:lnTo>
                    <a:lnTo>
                      <a:pt x="480" y="5400"/>
                    </a:lnTo>
                    <a:lnTo>
                      <a:pt x="640" y="5586"/>
                    </a:lnTo>
                    <a:lnTo>
                      <a:pt x="960" y="6331"/>
                    </a:lnTo>
                    <a:lnTo>
                      <a:pt x="1280" y="6889"/>
                    </a:lnTo>
                    <a:lnTo>
                      <a:pt x="1440" y="7262"/>
                    </a:lnTo>
                    <a:lnTo>
                      <a:pt x="1760" y="7634"/>
                    </a:lnTo>
                    <a:lnTo>
                      <a:pt x="2080" y="8379"/>
                    </a:lnTo>
                    <a:lnTo>
                      <a:pt x="2720" y="9310"/>
                    </a:lnTo>
                    <a:lnTo>
                      <a:pt x="3040" y="10241"/>
                    </a:lnTo>
                    <a:lnTo>
                      <a:pt x="3360" y="10613"/>
                    </a:lnTo>
                    <a:lnTo>
                      <a:pt x="3360" y="10986"/>
                    </a:lnTo>
                    <a:lnTo>
                      <a:pt x="3679" y="11917"/>
                    </a:lnTo>
                    <a:lnTo>
                      <a:pt x="4640" y="14151"/>
                    </a:lnTo>
                    <a:lnTo>
                      <a:pt x="5440" y="15827"/>
                    </a:lnTo>
                    <a:lnTo>
                      <a:pt x="6399" y="17503"/>
                    </a:lnTo>
                    <a:lnTo>
                      <a:pt x="6880" y="18806"/>
                    </a:lnTo>
                    <a:lnTo>
                      <a:pt x="7359" y="19737"/>
                    </a:lnTo>
                    <a:lnTo>
                      <a:pt x="7519" y="20110"/>
                    </a:lnTo>
                    <a:lnTo>
                      <a:pt x="7679" y="19737"/>
                    </a:lnTo>
                    <a:lnTo>
                      <a:pt x="7839" y="19737"/>
                    </a:lnTo>
                    <a:lnTo>
                      <a:pt x="7999" y="19551"/>
                    </a:lnTo>
                    <a:lnTo>
                      <a:pt x="8159" y="19551"/>
                    </a:lnTo>
                    <a:lnTo>
                      <a:pt x="8319" y="19179"/>
                    </a:lnTo>
                    <a:lnTo>
                      <a:pt x="8319" y="18806"/>
                    </a:lnTo>
                    <a:lnTo>
                      <a:pt x="8479" y="18993"/>
                    </a:lnTo>
                    <a:lnTo>
                      <a:pt x="9119" y="18993"/>
                    </a:lnTo>
                    <a:lnTo>
                      <a:pt x="10880" y="21599"/>
                    </a:lnTo>
                    <a:lnTo>
                      <a:pt x="11200" y="21227"/>
                    </a:lnTo>
                    <a:lnTo>
                      <a:pt x="11360" y="20855"/>
                    </a:lnTo>
                    <a:lnTo>
                      <a:pt x="11680" y="20482"/>
                    </a:lnTo>
                    <a:lnTo>
                      <a:pt x="11840" y="20110"/>
                    </a:lnTo>
                    <a:lnTo>
                      <a:pt x="12159" y="19737"/>
                    </a:lnTo>
                    <a:lnTo>
                      <a:pt x="12479" y="19179"/>
                    </a:lnTo>
                    <a:lnTo>
                      <a:pt x="12799" y="18806"/>
                    </a:lnTo>
                    <a:lnTo>
                      <a:pt x="13279" y="18620"/>
                    </a:lnTo>
                    <a:lnTo>
                      <a:pt x="14240" y="18062"/>
                    </a:lnTo>
                    <a:lnTo>
                      <a:pt x="15519" y="17503"/>
                    </a:lnTo>
                    <a:lnTo>
                      <a:pt x="16639" y="17131"/>
                    </a:lnTo>
                    <a:lnTo>
                      <a:pt x="17599" y="17131"/>
                    </a:lnTo>
                    <a:lnTo>
                      <a:pt x="17599" y="16944"/>
                    </a:lnTo>
                    <a:lnTo>
                      <a:pt x="17919" y="16944"/>
                    </a:lnTo>
                    <a:lnTo>
                      <a:pt x="18879" y="16572"/>
                    </a:lnTo>
                    <a:lnTo>
                      <a:pt x="19839" y="15827"/>
                    </a:lnTo>
                    <a:lnTo>
                      <a:pt x="20799" y="14896"/>
                    </a:lnTo>
                    <a:lnTo>
                      <a:pt x="21439" y="13779"/>
                    </a:lnTo>
                    <a:lnTo>
                      <a:pt x="21599" y="12289"/>
                    </a:lnTo>
                    <a:lnTo>
                      <a:pt x="21439" y="12289"/>
                    </a:lnTo>
                    <a:lnTo>
                      <a:pt x="21439" y="11544"/>
                    </a:lnTo>
                    <a:lnTo>
                      <a:pt x="21599" y="11358"/>
                    </a:lnTo>
                    <a:lnTo>
                      <a:pt x="20319" y="11544"/>
                    </a:lnTo>
                    <a:lnTo>
                      <a:pt x="18719" y="11544"/>
                    </a:lnTo>
                    <a:lnTo>
                      <a:pt x="18559" y="11358"/>
                    </a:lnTo>
                    <a:lnTo>
                      <a:pt x="18399" y="11358"/>
                    </a:lnTo>
                    <a:lnTo>
                      <a:pt x="18239" y="11172"/>
                    </a:lnTo>
                    <a:lnTo>
                      <a:pt x="18239" y="10800"/>
                    </a:lnTo>
                    <a:lnTo>
                      <a:pt x="18399" y="10241"/>
                    </a:lnTo>
                    <a:lnTo>
                      <a:pt x="17599" y="10055"/>
                    </a:lnTo>
                    <a:lnTo>
                      <a:pt x="17439" y="10055"/>
                    </a:lnTo>
                    <a:lnTo>
                      <a:pt x="17279" y="10241"/>
                    </a:lnTo>
                    <a:lnTo>
                      <a:pt x="16799" y="10241"/>
                    </a:lnTo>
                    <a:lnTo>
                      <a:pt x="16479" y="10055"/>
                    </a:lnTo>
                    <a:lnTo>
                      <a:pt x="16479" y="9868"/>
                    </a:lnTo>
                    <a:lnTo>
                      <a:pt x="16159" y="9124"/>
                    </a:lnTo>
                    <a:lnTo>
                      <a:pt x="15999" y="8565"/>
                    </a:lnTo>
                    <a:lnTo>
                      <a:pt x="15679" y="8193"/>
                    </a:lnTo>
                    <a:lnTo>
                      <a:pt x="15359" y="7448"/>
                    </a:lnTo>
                    <a:lnTo>
                      <a:pt x="13760" y="5027"/>
                    </a:lnTo>
                    <a:lnTo>
                      <a:pt x="12319" y="5027"/>
                    </a:lnTo>
                    <a:lnTo>
                      <a:pt x="12319" y="4841"/>
                    </a:lnTo>
                    <a:lnTo>
                      <a:pt x="11999" y="4468"/>
                    </a:lnTo>
                    <a:lnTo>
                      <a:pt x="11520" y="4282"/>
                    </a:lnTo>
                    <a:lnTo>
                      <a:pt x="11040" y="3724"/>
                    </a:lnTo>
                    <a:lnTo>
                      <a:pt x="10719" y="3537"/>
                    </a:lnTo>
                    <a:lnTo>
                      <a:pt x="10399" y="3165"/>
                    </a:lnTo>
                    <a:lnTo>
                      <a:pt x="9919" y="2793"/>
                    </a:lnTo>
                    <a:lnTo>
                      <a:pt x="9599" y="2606"/>
                    </a:lnTo>
                    <a:lnTo>
                      <a:pt x="9119" y="2420"/>
                    </a:lnTo>
                    <a:lnTo>
                      <a:pt x="8159" y="1489"/>
                    </a:lnTo>
                    <a:lnTo>
                      <a:pt x="7519" y="1489"/>
                    </a:lnTo>
                    <a:lnTo>
                      <a:pt x="5440" y="372"/>
                    </a:lnTo>
                    <a:lnTo>
                      <a:pt x="4960" y="0"/>
                    </a:lnTo>
                    <a:lnTo>
                      <a:pt x="4800" y="186"/>
                    </a:lnTo>
                    <a:lnTo>
                      <a:pt x="4640" y="186"/>
                    </a:lnTo>
                    <a:lnTo>
                      <a:pt x="4320" y="37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39" name="AutoShape 195"/>
              <p:cNvSpPr>
                <a:spLocks/>
              </p:cNvSpPr>
              <p:nvPr/>
            </p:nvSpPr>
            <p:spPr bwMode="auto">
              <a:xfrm>
                <a:off x="109825" y="1470796"/>
                <a:ext cx="47625" cy="6981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285" y="21599"/>
                    </a:moveTo>
                    <a:lnTo>
                      <a:pt x="6171" y="20290"/>
                    </a:lnTo>
                    <a:lnTo>
                      <a:pt x="5142" y="20290"/>
                    </a:lnTo>
                    <a:lnTo>
                      <a:pt x="5142" y="19636"/>
                    </a:lnTo>
                    <a:lnTo>
                      <a:pt x="4114" y="15054"/>
                    </a:lnTo>
                    <a:lnTo>
                      <a:pt x="1028" y="12436"/>
                    </a:lnTo>
                    <a:lnTo>
                      <a:pt x="1028" y="6545"/>
                    </a:lnTo>
                    <a:lnTo>
                      <a:pt x="0" y="4581"/>
                    </a:lnTo>
                    <a:lnTo>
                      <a:pt x="3085" y="2618"/>
                    </a:lnTo>
                    <a:lnTo>
                      <a:pt x="4114" y="2618"/>
                    </a:lnTo>
                    <a:lnTo>
                      <a:pt x="4114" y="1963"/>
                    </a:lnTo>
                    <a:lnTo>
                      <a:pt x="5142" y="1309"/>
                    </a:lnTo>
                    <a:lnTo>
                      <a:pt x="5142" y="0"/>
                    </a:lnTo>
                    <a:lnTo>
                      <a:pt x="7200" y="654"/>
                    </a:lnTo>
                    <a:lnTo>
                      <a:pt x="10285" y="654"/>
                    </a:lnTo>
                    <a:lnTo>
                      <a:pt x="21599" y="9818"/>
                    </a:lnTo>
                    <a:lnTo>
                      <a:pt x="19542" y="11127"/>
                    </a:lnTo>
                    <a:lnTo>
                      <a:pt x="19542" y="13090"/>
                    </a:lnTo>
                    <a:lnTo>
                      <a:pt x="20571" y="13090"/>
                    </a:lnTo>
                    <a:lnTo>
                      <a:pt x="20571" y="15709"/>
                    </a:lnTo>
                    <a:lnTo>
                      <a:pt x="17485" y="15709"/>
                    </a:lnTo>
                    <a:lnTo>
                      <a:pt x="17485" y="16363"/>
                    </a:lnTo>
                    <a:lnTo>
                      <a:pt x="14399" y="18327"/>
                    </a:lnTo>
                    <a:lnTo>
                      <a:pt x="15428" y="19636"/>
                    </a:lnTo>
                    <a:lnTo>
                      <a:pt x="14399" y="20290"/>
                    </a:lnTo>
                    <a:lnTo>
                      <a:pt x="13371" y="19636"/>
                    </a:lnTo>
                    <a:lnTo>
                      <a:pt x="12342" y="19636"/>
                    </a:lnTo>
                    <a:lnTo>
                      <a:pt x="12342" y="20290"/>
                    </a:lnTo>
                    <a:lnTo>
                      <a:pt x="10285" y="215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0" name="AutoShape 196"/>
              <p:cNvSpPr>
                <a:spLocks/>
              </p:cNvSpPr>
              <p:nvPr/>
            </p:nvSpPr>
            <p:spPr bwMode="auto">
              <a:xfrm>
                <a:off x="132050" y="1453344"/>
                <a:ext cx="133350" cy="8885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7032"/>
                    </a:moveTo>
                    <a:lnTo>
                      <a:pt x="18671" y="8037"/>
                    </a:lnTo>
                    <a:lnTo>
                      <a:pt x="17206" y="9544"/>
                    </a:lnTo>
                    <a:lnTo>
                      <a:pt x="15742" y="11553"/>
                    </a:lnTo>
                    <a:lnTo>
                      <a:pt x="14644" y="13562"/>
                    </a:lnTo>
                    <a:lnTo>
                      <a:pt x="13545" y="14567"/>
                    </a:lnTo>
                    <a:lnTo>
                      <a:pt x="11349" y="15572"/>
                    </a:lnTo>
                    <a:lnTo>
                      <a:pt x="10616" y="16074"/>
                    </a:lnTo>
                    <a:lnTo>
                      <a:pt x="9518" y="16074"/>
                    </a:lnTo>
                    <a:lnTo>
                      <a:pt x="6589" y="19590"/>
                    </a:lnTo>
                    <a:lnTo>
                      <a:pt x="1098" y="21600"/>
                    </a:lnTo>
                    <a:lnTo>
                      <a:pt x="366" y="21097"/>
                    </a:lnTo>
                    <a:lnTo>
                      <a:pt x="0" y="21097"/>
                    </a:lnTo>
                    <a:lnTo>
                      <a:pt x="366" y="21097"/>
                    </a:lnTo>
                    <a:lnTo>
                      <a:pt x="732" y="20093"/>
                    </a:lnTo>
                    <a:lnTo>
                      <a:pt x="1464" y="20093"/>
                    </a:lnTo>
                    <a:lnTo>
                      <a:pt x="1830" y="19590"/>
                    </a:lnTo>
                    <a:lnTo>
                      <a:pt x="1464" y="18586"/>
                    </a:lnTo>
                    <a:lnTo>
                      <a:pt x="2196" y="17079"/>
                    </a:lnTo>
                    <a:lnTo>
                      <a:pt x="2562" y="17079"/>
                    </a:lnTo>
                    <a:lnTo>
                      <a:pt x="2562" y="16576"/>
                    </a:lnTo>
                    <a:lnTo>
                      <a:pt x="3661" y="16576"/>
                    </a:lnTo>
                    <a:lnTo>
                      <a:pt x="4027" y="16074"/>
                    </a:lnTo>
                    <a:lnTo>
                      <a:pt x="3661" y="15572"/>
                    </a:lnTo>
                    <a:lnTo>
                      <a:pt x="3661" y="14567"/>
                    </a:lnTo>
                    <a:lnTo>
                      <a:pt x="3294" y="14065"/>
                    </a:lnTo>
                    <a:lnTo>
                      <a:pt x="3294" y="12558"/>
                    </a:lnTo>
                    <a:lnTo>
                      <a:pt x="4027" y="12055"/>
                    </a:lnTo>
                    <a:lnTo>
                      <a:pt x="5125" y="10548"/>
                    </a:lnTo>
                    <a:lnTo>
                      <a:pt x="5491" y="9544"/>
                    </a:lnTo>
                    <a:lnTo>
                      <a:pt x="6955" y="7534"/>
                    </a:lnTo>
                    <a:lnTo>
                      <a:pt x="7322" y="6027"/>
                    </a:lnTo>
                    <a:lnTo>
                      <a:pt x="8054" y="5023"/>
                    </a:lnTo>
                    <a:lnTo>
                      <a:pt x="8786" y="4520"/>
                    </a:lnTo>
                    <a:lnTo>
                      <a:pt x="9152" y="4018"/>
                    </a:lnTo>
                    <a:lnTo>
                      <a:pt x="9884" y="3516"/>
                    </a:lnTo>
                    <a:lnTo>
                      <a:pt x="12081" y="2511"/>
                    </a:lnTo>
                    <a:lnTo>
                      <a:pt x="14644" y="1506"/>
                    </a:lnTo>
                    <a:lnTo>
                      <a:pt x="17206" y="0"/>
                    </a:lnTo>
                    <a:lnTo>
                      <a:pt x="19403" y="0"/>
                    </a:lnTo>
                    <a:lnTo>
                      <a:pt x="19769" y="502"/>
                    </a:lnTo>
                    <a:lnTo>
                      <a:pt x="21600" y="703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1" name="AutoShape 197"/>
              <p:cNvSpPr>
                <a:spLocks/>
              </p:cNvSpPr>
              <p:nvPr/>
            </p:nvSpPr>
            <p:spPr bwMode="auto">
              <a:xfrm>
                <a:off x="252700" y="1375598"/>
                <a:ext cx="103187" cy="10630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6904" y="0"/>
                    </a:moveTo>
                    <a:lnTo>
                      <a:pt x="16904" y="1694"/>
                    </a:lnTo>
                    <a:lnTo>
                      <a:pt x="17843" y="2964"/>
                    </a:lnTo>
                    <a:lnTo>
                      <a:pt x="19721" y="4658"/>
                    </a:lnTo>
                    <a:lnTo>
                      <a:pt x="20660" y="4658"/>
                    </a:lnTo>
                    <a:lnTo>
                      <a:pt x="21130" y="5082"/>
                    </a:lnTo>
                    <a:lnTo>
                      <a:pt x="21599" y="6352"/>
                    </a:lnTo>
                    <a:lnTo>
                      <a:pt x="21599" y="7199"/>
                    </a:lnTo>
                    <a:lnTo>
                      <a:pt x="21130" y="8470"/>
                    </a:lnTo>
                    <a:lnTo>
                      <a:pt x="20191" y="9317"/>
                    </a:lnTo>
                    <a:lnTo>
                      <a:pt x="19252" y="9741"/>
                    </a:lnTo>
                    <a:lnTo>
                      <a:pt x="18313" y="10588"/>
                    </a:lnTo>
                    <a:lnTo>
                      <a:pt x="17373" y="10588"/>
                    </a:lnTo>
                    <a:lnTo>
                      <a:pt x="17373" y="11858"/>
                    </a:lnTo>
                    <a:lnTo>
                      <a:pt x="16904" y="12282"/>
                    </a:lnTo>
                    <a:lnTo>
                      <a:pt x="16434" y="13129"/>
                    </a:lnTo>
                    <a:lnTo>
                      <a:pt x="15495" y="13552"/>
                    </a:lnTo>
                    <a:lnTo>
                      <a:pt x="15026" y="13552"/>
                    </a:lnTo>
                    <a:lnTo>
                      <a:pt x="15026" y="13976"/>
                    </a:lnTo>
                    <a:lnTo>
                      <a:pt x="13617" y="13976"/>
                    </a:lnTo>
                    <a:lnTo>
                      <a:pt x="12678" y="14400"/>
                    </a:lnTo>
                    <a:lnTo>
                      <a:pt x="12208" y="15247"/>
                    </a:lnTo>
                    <a:lnTo>
                      <a:pt x="11739" y="15670"/>
                    </a:lnTo>
                    <a:lnTo>
                      <a:pt x="11739" y="16941"/>
                    </a:lnTo>
                    <a:lnTo>
                      <a:pt x="11269" y="17364"/>
                    </a:lnTo>
                    <a:lnTo>
                      <a:pt x="9860" y="19058"/>
                    </a:lnTo>
                    <a:lnTo>
                      <a:pt x="7043" y="20752"/>
                    </a:lnTo>
                    <a:lnTo>
                      <a:pt x="2817" y="21600"/>
                    </a:lnTo>
                    <a:lnTo>
                      <a:pt x="469" y="16094"/>
                    </a:lnTo>
                    <a:lnTo>
                      <a:pt x="0" y="15670"/>
                    </a:lnTo>
                    <a:lnTo>
                      <a:pt x="469" y="15247"/>
                    </a:lnTo>
                    <a:lnTo>
                      <a:pt x="2817" y="14400"/>
                    </a:lnTo>
                    <a:lnTo>
                      <a:pt x="6104" y="13129"/>
                    </a:lnTo>
                    <a:lnTo>
                      <a:pt x="8921" y="11435"/>
                    </a:lnTo>
                    <a:lnTo>
                      <a:pt x="10800" y="8894"/>
                    </a:lnTo>
                    <a:lnTo>
                      <a:pt x="11739" y="5929"/>
                    </a:lnTo>
                    <a:lnTo>
                      <a:pt x="11739" y="5082"/>
                    </a:lnTo>
                    <a:lnTo>
                      <a:pt x="11269" y="4235"/>
                    </a:lnTo>
                    <a:lnTo>
                      <a:pt x="11269" y="2541"/>
                    </a:lnTo>
                    <a:lnTo>
                      <a:pt x="12678" y="2541"/>
                    </a:lnTo>
                    <a:lnTo>
                      <a:pt x="13617" y="2117"/>
                    </a:lnTo>
                    <a:lnTo>
                      <a:pt x="14086" y="1694"/>
                    </a:lnTo>
                    <a:lnTo>
                      <a:pt x="14086" y="1270"/>
                    </a:lnTo>
                    <a:lnTo>
                      <a:pt x="14556" y="847"/>
                    </a:lnTo>
                    <a:lnTo>
                      <a:pt x="15026" y="847"/>
                    </a:lnTo>
                    <a:lnTo>
                      <a:pt x="16904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2" name="AutoShape 198"/>
              <p:cNvSpPr>
                <a:spLocks/>
              </p:cNvSpPr>
              <p:nvPr/>
            </p:nvSpPr>
            <p:spPr bwMode="auto">
              <a:xfrm>
                <a:off x="54262" y="1156644"/>
                <a:ext cx="130175" cy="14121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6386" y="21599"/>
                    </a:moveTo>
                    <a:lnTo>
                      <a:pt x="16013" y="21277"/>
                    </a:lnTo>
                    <a:lnTo>
                      <a:pt x="15641" y="21277"/>
                    </a:lnTo>
                    <a:lnTo>
                      <a:pt x="14896" y="20955"/>
                    </a:lnTo>
                    <a:lnTo>
                      <a:pt x="14151" y="20310"/>
                    </a:lnTo>
                    <a:lnTo>
                      <a:pt x="13034" y="19988"/>
                    </a:lnTo>
                    <a:lnTo>
                      <a:pt x="10800" y="18376"/>
                    </a:lnTo>
                    <a:lnTo>
                      <a:pt x="9310" y="18376"/>
                    </a:lnTo>
                    <a:lnTo>
                      <a:pt x="4468" y="16441"/>
                    </a:lnTo>
                    <a:lnTo>
                      <a:pt x="3351" y="15797"/>
                    </a:lnTo>
                    <a:lnTo>
                      <a:pt x="3351" y="15474"/>
                    </a:lnTo>
                    <a:lnTo>
                      <a:pt x="2979" y="14829"/>
                    </a:lnTo>
                    <a:lnTo>
                      <a:pt x="744" y="12250"/>
                    </a:lnTo>
                    <a:lnTo>
                      <a:pt x="0" y="10961"/>
                    </a:lnTo>
                    <a:lnTo>
                      <a:pt x="4841" y="7414"/>
                    </a:lnTo>
                    <a:lnTo>
                      <a:pt x="4841" y="5158"/>
                    </a:lnTo>
                    <a:lnTo>
                      <a:pt x="5213" y="4835"/>
                    </a:lnTo>
                    <a:lnTo>
                      <a:pt x="5213" y="4513"/>
                    </a:lnTo>
                    <a:lnTo>
                      <a:pt x="5586" y="4191"/>
                    </a:lnTo>
                    <a:lnTo>
                      <a:pt x="5958" y="3546"/>
                    </a:lnTo>
                    <a:lnTo>
                      <a:pt x="6331" y="3546"/>
                    </a:lnTo>
                    <a:lnTo>
                      <a:pt x="6331" y="3223"/>
                    </a:lnTo>
                    <a:lnTo>
                      <a:pt x="7075" y="1934"/>
                    </a:lnTo>
                    <a:lnTo>
                      <a:pt x="7075" y="1611"/>
                    </a:lnTo>
                    <a:lnTo>
                      <a:pt x="7448" y="1289"/>
                    </a:lnTo>
                    <a:lnTo>
                      <a:pt x="7448" y="967"/>
                    </a:lnTo>
                    <a:lnTo>
                      <a:pt x="7820" y="967"/>
                    </a:lnTo>
                    <a:lnTo>
                      <a:pt x="9310" y="322"/>
                    </a:lnTo>
                    <a:lnTo>
                      <a:pt x="11172" y="322"/>
                    </a:lnTo>
                    <a:lnTo>
                      <a:pt x="13034" y="0"/>
                    </a:lnTo>
                    <a:lnTo>
                      <a:pt x="13034" y="322"/>
                    </a:lnTo>
                    <a:lnTo>
                      <a:pt x="13406" y="644"/>
                    </a:lnTo>
                    <a:lnTo>
                      <a:pt x="14151" y="644"/>
                    </a:lnTo>
                    <a:lnTo>
                      <a:pt x="14524" y="322"/>
                    </a:lnTo>
                    <a:lnTo>
                      <a:pt x="15268" y="644"/>
                    </a:lnTo>
                    <a:lnTo>
                      <a:pt x="15268" y="1289"/>
                    </a:lnTo>
                    <a:lnTo>
                      <a:pt x="15641" y="1611"/>
                    </a:lnTo>
                    <a:lnTo>
                      <a:pt x="15268" y="1611"/>
                    </a:lnTo>
                    <a:lnTo>
                      <a:pt x="15268" y="1934"/>
                    </a:lnTo>
                    <a:lnTo>
                      <a:pt x="14896" y="2256"/>
                    </a:lnTo>
                    <a:lnTo>
                      <a:pt x="14896" y="2579"/>
                    </a:lnTo>
                    <a:lnTo>
                      <a:pt x="15268" y="2579"/>
                    </a:lnTo>
                    <a:lnTo>
                      <a:pt x="16386" y="3546"/>
                    </a:lnTo>
                    <a:lnTo>
                      <a:pt x="16386" y="3868"/>
                    </a:lnTo>
                    <a:lnTo>
                      <a:pt x="16758" y="4191"/>
                    </a:lnTo>
                    <a:lnTo>
                      <a:pt x="17503" y="4513"/>
                    </a:lnTo>
                    <a:lnTo>
                      <a:pt x="17875" y="5158"/>
                    </a:lnTo>
                    <a:lnTo>
                      <a:pt x="18248" y="5480"/>
                    </a:lnTo>
                    <a:lnTo>
                      <a:pt x="18248" y="6125"/>
                    </a:lnTo>
                    <a:lnTo>
                      <a:pt x="17503" y="7414"/>
                    </a:lnTo>
                    <a:lnTo>
                      <a:pt x="17131" y="8382"/>
                    </a:lnTo>
                    <a:lnTo>
                      <a:pt x="17131" y="9026"/>
                    </a:lnTo>
                    <a:lnTo>
                      <a:pt x="16758" y="9671"/>
                    </a:lnTo>
                    <a:lnTo>
                      <a:pt x="18248" y="12250"/>
                    </a:lnTo>
                    <a:lnTo>
                      <a:pt x="18620" y="13217"/>
                    </a:lnTo>
                    <a:lnTo>
                      <a:pt x="19365" y="13540"/>
                    </a:lnTo>
                    <a:lnTo>
                      <a:pt x="19737" y="13862"/>
                    </a:lnTo>
                    <a:lnTo>
                      <a:pt x="19737" y="14829"/>
                    </a:lnTo>
                    <a:lnTo>
                      <a:pt x="20110" y="15474"/>
                    </a:lnTo>
                    <a:lnTo>
                      <a:pt x="20110" y="15797"/>
                    </a:lnTo>
                    <a:lnTo>
                      <a:pt x="21227" y="16764"/>
                    </a:lnTo>
                    <a:lnTo>
                      <a:pt x="21227" y="17408"/>
                    </a:lnTo>
                    <a:lnTo>
                      <a:pt x="21600" y="18053"/>
                    </a:lnTo>
                    <a:lnTo>
                      <a:pt x="21600" y="18376"/>
                    </a:lnTo>
                    <a:lnTo>
                      <a:pt x="21227" y="19988"/>
                    </a:lnTo>
                    <a:lnTo>
                      <a:pt x="20855" y="19988"/>
                    </a:lnTo>
                    <a:lnTo>
                      <a:pt x="20110" y="20632"/>
                    </a:lnTo>
                    <a:lnTo>
                      <a:pt x="16386" y="215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3" name="AutoShape 199"/>
              <p:cNvSpPr>
                <a:spLocks/>
              </p:cNvSpPr>
              <p:nvPr/>
            </p:nvSpPr>
            <p:spPr bwMode="auto">
              <a:xfrm>
                <a:off x="3462" y="1228043"/>
                <a:ext cx="69850" cy="7615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93" y="12000"/>
                    </a:moveTo>
                    <a:lnTo>
                      <a:pt x="1393" y="2400"/>
                    </a:lnTo>
                    <a:lnTo>
                      <a:pt x="2090" y="2999"/>
                    </a:lnTo>
                    <a:lnTo>
                      <a:pt x="2787" y="2999"/>
                    </a:lnTo>
                    <a:lnTo>
                      <a:pt x="2787" y="3600"/>
                    </a:lnTo>
                    <a:lnTo>
                      <a:pt x="4180" y="4800"/>
                    </a:lnTo>
                    <a:lnTo>
                      <a:pt x="6967" y="4800"/>
                    </a:lnTo>
                    <a:lnTo>
                      <a:pt x="9058" y="4200"/>
                    </a:lnTo>
                    <a:lnTo>
                      <a:pt x="15329" y="0"/>
                    </a:lnTo>
                    <a:lnTo>
                      <a:pt x="16722" y="2400"/>
                    </a:lnTo>
                    <a:lnTo>
                      <a:pt x="18812" y="4200"/>
                    </a:lnTo>
                    <a:lnTo>
                      <a:pt x="20903" y="7800"/>
                    </a:lnTo>
                    <a:lnTo>
                      <a:pt x="21599" y="8400"/>
                    </a:lnTo>
                    <a:lnTo>
                      <a:pt x="21599" y="9000"/>
                    </a:lnTo>
                    <a:lnTo>
                      <a:pt x="20903" y="9600"/>
                    </a:lnTo>
                    <a:lnTo>
                      <a:pt x="19509" y="10200"/>
                    </a:lnTo>
                    <a:lnTo>
                      <a:pt x="16722" y="10200"/>
                    </a:lnTo>
                    <a:lnTo>
                      <a:pt x="13935" y="10800"/>
                    </a:lnTo>
                    <a:lnTo>
                      <a:pt x="11845" y="11400"/>
                    </a:lnTo>
                    <a:lnTo>
                      <a:pt x="13935" y="15000"/>
                    </a:lnTo>
                    <a:lnTo>
                      <a:pt x="14632" y="15600"/>
                    </a:lnTo>
                    <a:lnTo>
                      <a:pt x="14632" y="16800"/>
                    </a:lnTo>
                    <a:lnTo>
                      <a:pt x="13935" y="16800"/>
                    </a:lnTo>
                    <a:lnTo>
                      <a:pt x="13238" y="17400"/>
                    </a:lnTo>
                    <a:lnTo>
                      <a:pt x="12541" y="18600"/>
                    </a:lnTo>
                    <a:lnTo>
                      <a:pt x="10451" y="20400"/>
                    </a:lnTo>
                    <a:lnTo>
                      <a:pt x="9058" y="20400"/>
                    </a:lnTo>
                    <a:lnTo>
                      <a:pt x="9058" y="21600"/>
                    </a:lnTo>
                    <a:lnTo>
                      <a:pt x="8361" y="21600"/>
                    </a:lnTo>
                    <a:lnTo>
                      <a:pt x="6967" y="21000"/>
                    </a:lnTo>
                    <a:lnTo>
                      <a:pt x="0" y="21000"/>
                    </a:lnTo>
                    <a:lnTo>
                      <a:pt x="1393" y="120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4" name="AutoShape 200"/>
              <p:cNvSpPr>
                <a:spLocks/>
              </p:cNvSpPr>
              <p:nvPr/>
            </p:nvSpPr>
            <p:spPr bwMode="auto">
              <a:xfrm>
                <a:off x="8225" y="1166164"/>
                <a:ext cx="90487" cy="7933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440" y="568"/>
                    </a:moveTo>
                    <a:lnTo>
                      <a:pt x="18899" y="1136"/>
                    </a:lnTo>
                    <a:lnTo>
                      <a:pt x="17819" y="1705"/>
                    </a:lnTo>
                    <a:lnTo>
                      <a:pt x="16199" y="1705"/>
                    </a:lnTo>
                    <a:lnTo>
                      <a:pt x="14580" y="3410"/>
                    </a:lnTo>
                    <a:lnTo>
                      <a:pt x="13499" y="3978"/>
                    </a:lnTo>
                    <a:lnTo>
                      <a:pt x="11879" y="4547"/>
                    </a:lnTo>
                    <a:lnTo>
                      <a:pt x="7559" y="4547"/>
                    </a:lnTo>
                    <a:lnTo>
                      <a:pt x="5400" y="3410"/>
                    </a:lnTo>
                    <a:lnTo>
                      <a:pt x="4860" y="3410"/>
                    </a:lnTo>
                    <a:lnTo>
                      <a:pt x="4320" y="3978"/>
                    </a:lnTo>
                    <a:lnTo>
                      <a:pt x="4320" y="4547"/>
                    </a:lnTo>
                    <a:lnTo>
                      <a:pt x="3240" y="5684"/>
                    </a:lnTo>
                    <a:lnTo>
                      <a:pt x="2700" y="6821"/>
                    </a:lnTo>
                    <a:lnTo>
                      <a:pt x="1620" y="6821"/>
                    </a:lnTo>
                    <a:lnTo>
                      <a:pt x="1080" y="6252"/>
                    </a:lnTo>
                    <a:lnTo>
                      <a:pt x="1080" y="6821"/>
                    </a:lnTo>
                    <a:lnTo>
                      <a:pt x="1620" y="7389"/>
                    </a:lnTo>
                    <a:lnTo>
                      <a:pt x="1620" y="9094"/>
                    </a:lnTo>
                    <a:lnTo>
                      <a:pt x="1080" y="9663"/>
                    </a:lnTo>
                    <a:lnTo>
                      <a:pt x="1080" y="10800"/>
                    </a:lnTo>
                    <a:lnTo>
                      <a:pt x="540" y="11936"/>
                    </a:lnTo>
                    <a:lnTo>
                      <a:pt x="2700" y="11936"/>
                    </a:lnTo>
                    <a:lnTo>
                      <a:pt x="3240" y="12505"/>
                    </a:lnTo>
                    <a:lnTo>
                      <a:pt x="3240" y="13073"/>
                    </a:lnTo>
                    <a:lnTo>
                      <a:pt x="2160" y="14210"/>
                    </a:lnTo>
                    <a:lnTo>
                      <a:pt x="2160" y="15915"/>
                    </a:lnTo>
                    <a:lnTo>
                      <a:pt x="1620" y="16484"/>
                    </a:lnTo>
                    <a:lnTo>
                      <a:pt x="1620" y="17052"/>
                    </a:lnTo>
                    <a:lnTo>
                      <a:pt x="1080" y="17621"/>
                    </a:lnTo>
                    <a:lnTo>
                      <a:pt x="1080" y="18189"/>
                    </a:lnTo>
                    <a:lnTo>
                      <a:pt x="0" y="19326"/>
                    </a:lnTo>
                    <a:lnTo>
                      <a:pt x="540" y="19894"/>
                    </a:lnTo>
                    <a:lnTo>
                      <a:pt x="1080" y="19894"/>
                    </a:lnTo>
                    <a:lnTo>
                      <a:pt x="1080" y="20463"/>
                    </a:lnTo>
                    <a:lnTo>
                      <a:pt x="2160" y="21599"/>
                    </a:lnTo>
                    <a:lnTo>
                      <a:pt x="4320" y="21599"/>
                    </a:lnTo>
                    <a:lnTo>
                      <a:pt x="5939" y="21031"/>
                    </a:lnTo>
                    <a:lnTo>
                      <a:pt x="17819" y="10800"/>
                    </a:lnTo>
                    <a:lnTo>
                      <a:pt x="17819" y="6252"/>
                    </a:lnTo>
                    <a:lnTo>
                      <a:pt x="18359" y="6252"/>
                    </a:lnTo>
                    <a:lnTo>
                      <a:pt x="19440" y="5115"/>
                    </a:lnTo>
                    <a:lnTo>
                      <a:pt x="19440" y="3978"/>
                    </a:lnTo>
                    <a:lnTo>
                      <a:pt x="19980" y="3978"/>
                    </a:lnTo>
                    <a:lnTo>
                      <a:pt x="19980" y="3410"/>
                    </a:lnTo>
                    <a:lnTo>
                      <a:pt x="21059" y="1136"/>
                    </a:lnTo>
                    <a:lnTo>
                      <a:pt x="21059" y="568"/>
                    </a:lnTo>
                    <a:lnTo>
                      <a:pt x="21599" y="0"/>
                    </a:lnTo>
                    <a:lnTo>
                      <a:pt x="19440" y="568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5" name="AutoShape 201"/>
              <p:cNvSpPr>
                <a:spLocks/>
              </p:cNvSpPr>
              <p:nvPr/>
            </p:nvSpPr>
            <p:spPr bwMode="auto">
              <a:xfrm>
                <a:off x="125700" y="1116979"/>
                <a:ext cx="263525" cy="26020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292" y="3658"/>
                    </a:moveTo>
                    <a:lnTo>
                      <a:pt x="1661" y="3658"/>
                    </a:lnTo>
                    <a:lnTo>
                      <a:pt x="1661" y="4006"/>
                    </a:lnTo>
                    <a:lnTo>
                      <a:pt x="1846" y="4180"/>
                    </a:lnTo>
                    <a:lnTo>
                      <a:pt x="1661" y="4180"/>
                    </a:lnTo>
                    <a:lnTo>
                      <a:pt x="1661" y="4354"/>
                    </a:lnTo>
                    <a:lnTo>
                      <a:pt x="1476" y="4529"/>
                    </a:lnTo>
                    <a:lnTo>
                      <a:pt x="1476" y="4703"/>
                    </a:lnTo>
                    <a:lnTo>
                      <a:pt x="1661" y="4703"/>
                    </a:lnTo>
                    <a:lnTo>
                      <a:pt x="2215" y="5225"/>
                    </a:lnTo>
                    <a:lnTo>
                      <a:pt x="2215" y="5400"/>
                    </a:lnTo>
                    <a:lnTo>
                      <a:pt x="2400" y="5574"/>
                    </a:lnTo>
                    <a:lnTo>
                      <a:pt x="2769" y="5748"/>
                    </a:lnTo>
                    <a:lnTo>
                      <a:pt x="2953" y="6096"/>
                    </a:lnTo>
                    <a:lnTo>
                      <a:pt x="3138" y="6270"/>
                    </a:lnTo>
                    <a:lnTo>
                      <a:pt x="3138" y="6619"/>
                    </a:lnTo>
                    <a:lnTo>
                      <a:pt x="2769" y="7316"/>
                    </a:lnTo>
                    <a:lnTo>
                      <a:pt x="2584" y="7838"/>
                    </a:lnTo>
                    <a:lnTo>
                      <a:pt x="2584" y="8187"/>
                    </a:lnTo>
                    <a:lnTo>
                      <a:pt x="2400" y="8535"/>
                    </a:lnTo>
                    <a:lnTo>
                      <a:pt x="3138" y="9929"/>
                    </a:lnTo>
                    <a:lnTo>
                      <a:pt x="3323" y="10451"/>
                    </a:lnTo>
                    <a:lnTo>
                      <a:pt x="3692" y="10625"/>
                    </a:lnTo>
                    <a:lnTo>
                      <a:pt x="3876" y="10800"/>
                    </a:lnTo>
                    <a:lnTo>
                      <a:pt x="3876" y="11322"/>
                    </a:lnTo>
                    <a:lnTo>
                      <a:pt x="4061" y="11670"/>
                    </a:lnTo>
                    <a:lnTo>
                      <a:pt x="4061" y="11845"/>
                    </a:lnTo>
                    <a:lnTo>
                      <a:pt x="4615" y="12367"/>
                    </a:lnTo>
                    <a:lnTo>
                      <a:pt x="4615" y="12716"/>
                    </a:lnTo>
                    <a:lnTo>
                      <a:pt x="4799" y="13064"/>
                    </a:lnTo>
                    <a:lnTo>
                      <a:pt x="4799" y="13238"/>
                    </a:lnTo>
                    <a:lnTo>
                      <a:pt x="4615" y="14109"/>
                    </a:lnTo>
                    <a:lnTo>
                      <a:pt x="5907" y="14283"/>
                    </a:lnTo>
                    <a:lnTo>
                      <a:pt x="7199" y="14109"/>
                    </a:lnTo>
                    <a:lnTo>
                      <a:pt x="7753" y="14632"/>
                    </a:lnTo>
                    <a:lnTo>
                      <a:pt x="8123" y="15154"/>
                    </a:lnTo>
                    <a:lnTo>
                      <a:pt x="8676" y="15851"/>
                    </a:lnTo>
                    <a:lnTo>
                      <a:pt x="10523" y="17593"/>
                    </a:lnTo>
                    <a:lnTo>
                      <a:pt x="10523" y="17767"/>
                    </a:lnTo>
                    <a:lnTo>
                      <a:pt x="10892" y="17767"/>
                    </a:lnTo>
                    <a:lnTo>
                      <a:pt x="11261" y="17941"/>
                    </a:lnTo>
                    <a:lnTo>
                      <a:pt x="11815" y="18116"/>
                    </a:lnTo>
                    <a:lnTo>
                      <a:pt x="12184" y="18116"/>
                    </a:lnTo>
                    <a:lnTo>
                      <a:pt x="12553" y="18290"/>
                    </a:lnTo>
                    <a:lnTo>
                      <a:pt x="14030" y="18290"/>
                    </a:lnTo>
                    <a:lnTo>
                      <a:pt x="14769" y="17941"/>
                    </a:lnTo>
                    <a:lnTo>
                      <a:pt x="15323" y="18638"/>
                    </a:lnTo>
                    <a:lnTo>
                      <a:pt x="15507" y="19683"/>
                    </a:lnTo>
                    <a:lnTo>
                      <a:pt x="16246" y="20380"/>
                    </a:lnTo>
                    <a:lnTo>
                      <a:pt x="16246" y="20206"/>
                    </a:lnTo>
                    <a:lnTo>
                      <a:pt x="16430" y="20206"/>
                    </a:lnTo>
                    <a:lnTo>
                      <a:pt x="16615" y="20032"/>
                    </a:lnTo>
                    <a:lnTo>
                      <a:pt x="16984" y="20032"/>
                    </a:lnTo>
                    <a:lnTo>
                      <a:pt x="17353" y="19858"/>
                    </a:lnTo>
                    <a:lnTo>
                      <a:pt x="17538" y="19858"/>
                    </a:lnTo>
                    <a:lnTo>
                      <a:pt x="18276" y="20206"/>
                    </a:lnTo>
                    <a:lnTo>
                      <a:pt x="18461" y="20380"/>
                    </a:lnTo>
                    <a:lnTo>
                      <a:pt x="18461" y="20903"/>
                    </a:lnTo>
                    <a:lnTo>
                      <a:pt x="19199" y="21599"/>
                    </a:lnTo>
                    <a:lnTo>
                      <a:pt x="20676" y="20903"/>
                    </a:lnTo>
                    <a:lnTo>
                      <a:pt x="20676" y="20729"/>
                    </a:lnTo>
                    <a:lnTo>
                      <a:pt x="20492" y="20554"/>
                    </a:lnTo>
                    <a:lnTo>
                      <a:pt x="20492" y="18987"/>
                    </a:lnTo>
                    <a:lnTo>
                      <a:pt x="20676" y="18638"/>
                    </a:lnTo>
                    <a:lnTo>
                      <a:pt x="21046" y="18290"/>
                    </a:lnTo>
                    <a:lnTo>
                      <a:pt x="21415" y="18116"/>
                    </a:lnTo>
                    <a:lnTo>
                      <a:pt x="21415" y="17767"/>
                    </a:lnTo>
                    <a:lnTo>
                      <a:pt x="21599" y="17593"/>
                    </a:lnTo>
                    <a:lnTo>
                      <a:pt x="21415" y="17245"/>
                    </a:lnTo>
                    <a:lnTo>
                      <a:pt x="21415" y="17070"/>
                    </a:lnTo>
                    <a:lnTo>
                      <a:pt x="21230" y="16896"/>
                    </a:lnTo>
                    <a:lnTo>
                      <a:pt x="20123" y="14980"/>
                    </a:lnTo>
                    <a:lnTo>
                      <a:pt x="19015" y="13238"/>
                    </a:lnTo>
                    <a:lnTo>
                      <a:pt x="19015" y="10451"/>
                    </a:lnTo>
                    <a:lnTo>
                      <a:pt x="19938" y="9058"/>
                    </a:lnTo>
                    <a:lnTo>
                      <a:pt x="20123" y="6967"/>
                    </a:lnTo>
                    <a:lnTo>
                      <a:pt x="19938" y="6619"/>
                    </a:lnTo>
                    <a:lnTo>
                      <a:pt x="19569" y="6096"/>
                    </a:lnTo>
                    <a:lnTo>
                      <a:pt x="19015" y="5400"/>
                    </a:lnTo>
                    <a:lnTo>
                      <a:pt x="18092" y="4703"/>
                    </a:lnTo>
                    <a:lnTo>
                      <a:pt x="16984" y="4529"/>
                    </a:lnTo>
                    <a:lnTo>
                      <a:pt x="16800" y="4354"/>
                    </a:lnTo>
                    <a:lnTo>
                      <a:pt x="16615" y="4354"/>
                    </a:lnTo>
                    <a:lnTo>
                      <a:pt x="16246" y="4180"/>
                    </a:lnTo>
                    <a:lnTo>
                      <a:pt x="15876" y="4180"/>
                    </a:lnTo>
                    <a:lnTo>
                      <a:pt x="15692" y="4006"/>
                    </a:lnTo>
                    <a:lnTo>
                      <a:pt x="14769" y="3832"/>
                    </a:lnTo>
                    <a:lnTo>
                      <a:pt x="13292" y="3832"/>
                    </a:lnTo>
                    <a:lnTo>
                      <a:pt x="11630" y="4703"/>
                    </a:lnTo>
                    <a:lnTo>
                      <a:pt x="11446" y="4877"/>
                    </a:lnTo>
                    <a:lnTo>
                      <a:pt x="11261" y="4877"/>
                    </a:lnTo>
                    <a:lnTo>
                      <a:pt x="10892" y="5051"/>
                    </a:lnTo>
                    <a:lnTo>
                      <a:pt x="9415" y="5051"/>
                    </a:lnTo>
                    <a:lnTo>
                      <a:pt x="9230" y="5225"/>
                    </a:lnTo>
                    <a:lnTo>
                      <a:pt x="9046" y="5225"/>
                    </a:lnTo>
                    <a:lnTo>
                      <a:pt x="8861" y="5051"/>
                    </a:lnTo>
                    <a:lnTo>
                      <a:pt x="8307" y="4877"/>
                    </a:lnTo>
                    <a:lnTo>
                      <a:pt x="7569" y="4354"/>
                    </a:lnTo>
                    <a:lnTo>
                      <a:pt x="7015" y="3483"/>
                    </a:lnTo>
                    <a:lnTo>
                      <a:pt x="6646" y="2264"/>
                    </a:lnTo>
                    <a:lnTo>
                      <a:pt x="5723" y="1045"/>
                    </a:lnTo>
                    <a:lnTo>
                      <a:pt x="4984" y="348"/>
                    </a:lnTo>
                    <a:lnTo>
                      <a:pt x="4799" y="0"/>
                    </a:lnTo>
                    <a:lnTo>
                      <a:pt x="3507" y="1393"/>
                    </a:lnTo>
                    <a:lnTo>
                      <a:pt x="3323" y="1393"/>
                    </a:lnTo>
                    <a:lnTo>
                      <a:pt x="3138" y="1567"/>
                    </a:lnTo>
                    <a:lnTo>
                      <a:pt x="2400" y="1567"/>
                    </a:lnTo>
                    <a:lnTo>
                      <a:pt x="2030" y="1219"/>
                    </a:lnTo>
                    <a:lnTo>
                      <a:pt x="0" y="870"/>
                    </a:lnTo>
                    <a:lnTo>
                      <a:pt x="0" y="1045"/>
                    </a:lnTo>
                    <a:lnTo>
                      <a:pt x="369" y="1393"/>
                    </a:lnTo>
                    <a:lnTo>
                      <a:pt x="369" y="1741"/>
                    </a:lnTo>
                    <a:lnTo>
                      <a:pt x="553" y="2090"/>
                    </a:lnTo>
                    <a:lnTo>
                      <a:pt x="738" y="2264"/>
                    </a:lnTo>
                    <a:lnTo>
                      <a:pt x="1107" y="3309"/>
                    </a:lnTo>
                    <a:lnTo>
                      <a:pt x="1107" y="3483"/>
                    </a:lnTo>
                    <a:lnTo>
                      <a:pt x="923" y="3658"/>
                    </a:lnTo>
                    <a:lnTo>
                      <a:pt x="1292" y="3658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6" name="AutoShape 202"/>
              <p:cNvSpPr>
                <a:spLocks/>
              </p:cNvSpPr>
              <p:nvPr/>
            </p:nvSpPr>
            <p:spPr bwMode="auto">
              <a:xfrm>
                <a:off x="1211551" y="1453344"/>
                <a:ext cx="39687" cy="9995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2000" y="0"/>
                    </a:moveTo>
                    <a:lnTo>
                      <a:pt x="7200" y="0"/>
                    </a:lnTo>
                    <a:lnTo>
                      <a:pt x="2400" y="900"/>
                    </a:lnTo>
                    <a:lnTo>
                      <a:pt x="1199" y="1800"/>
                    </a:lnTo>
                    <a:lnTo>
                      <a:pt x="1199" y="2699"/>
                    </a:lnTo>
                    <a:lnTo>
                      <a:pt x="0" y="5850"/>
                    </a:lnTo>
                    <a:lnTo>
                      <a:pt x="0" y="8999"/>
                    </a:lnTo>
                    <a:lnTo>
                      <a:pt x="1199" y="10800"/>
                    </a:lnTo>
                    <a:lnTo>
                      <a:pt x="1199" y="11700"/>
                    </a:lnTo>
                    <a:lnTo>
                      <a:pt x="2400" y="12149"/>
                    </a:lnTo>
                    <a:lnTo>
                      <a:pt x="2400" y="12600"/>
                    </a:lnTo>
                    <a:lnTo>
                      <a:pt x="1199" y="13050"/>
                    </a:lnTo>
                    <a:lnTo>
                      <a:pt x="1199" y="13500"/>
                    </a:lnTo>
                    <a:lnTo>
                      <a:pt x="0" y="14400"/>
                    </a:lnTo>
                    <a:lnTo>
                      <a:pt x="0" y="14850"/>
                    </a:lnTo>
                    <a:lnTo>
                      <a:pt x="1199" y="15749"/>
                    </a:lnTo>
                    <a:lnTo>
                      <a:pt x="3600" y="18450"/>
                    </a:lnTo>
                    <a:lnTo>
                      <a:pt x="6000" y="19799"/>
                    </a:lnTo>
                    <a:lnTo>
                      <a:pt x="7200" y="20700"/>
                    </a:lnTo>
                    <a:lnTo>
                      <a:pt x="9600" y="21600"/>
                    </a:lnTo>
                    <a:lnTo>
                      <a:pt x="14400" y="19799"/>
                    </a:lnTo>
                    <a:lnTo>
                      <a:pt x="14400" y="12600"/>
                    </a:lnTo>
                    <a:lnTo>
                      <a:pt x="18000" y="9450"/>
                    </a:lnTo>
                    <a:lnTo>
                      <a:pt x="18000" y="6300"/>
                    </a:lnTo>
                    <a:lnTo>
                      <a:pt x="19200" y="5399"/>
                    </a:lnTo>
                    <a:lnTo>
                      <a:pt x="20400" y="4949"/>
                    </a:lnTo>
                    <a:lnTo>
                      <a:pt x="20400" y="449"/>
                    </a:lnTo>
                    <a:lnTo>
                      <a:pt x="21600" y="0"/>
                    </a:lnTo>
                    <a:lnTo>
                      <a:pt x="19200" y="0"/>
                    </a:lnTo>
                    <a:lnTo>
                      <a:pt x="16800" y="449"/>
                    </a:lnTo>
                    <a:lnTo>
                      <a:pt x="14400" y="449"/>
                    </a:lnTo>
                    <a:lnTo>
                      <a:pt x="1200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7" name="AutoShape 203"/>
              <p:cNvSpPr>
                <a:spLocks/>
              </p:cNvSpPr>
              <p:nvPr/>
            </p:nvSpPr>
            <p:spPr bwMode="auto">
              <a:xfrm>
                <a:off x="1173451" y="1558061"/>
                <a:ext cx="38100" cy="3490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50" y="17788"/>
                    </a:moveTo>
                    <a:lnTo>
                      <a:pt x="0" y="19058"/>
                    </a:lnTo>
                    <a:lnTo>
                      <a:pt x="2700" y="21600"/>
                    </a:lnTo>
                    <a:lnTo>
                      <a:pt x="4050" y="20329"/>
                    </a:lnTo>
                    <a:lnTo>
                      <a:pt x="6749" y="20329"/>
                    </a:lnTo>
                    <a:lnTo>
                      <a:pt x="10800" y="16517"/>
                    </a:lnTo>
                    <a:lnTo>
                      <a:pt x="13499" y="15247"/>
                    </a:lnTo>
                    <a:lnTo>
                      <a:pt x="16200" y="12705"/>
                    </a:lnTo>
                    <a:lnTo>
                      <a:pt x="18900" y="7623"/>
                    </a:lnTo>
                    <a:lnTo>
                      <a:pt x="20249" y="6352"/>
                    </a:lnTo>
                    <a:lnTo>
                      <a:pt x="21599" y="3811"/>
                    </a:lnTo>
                    <a:lnTo>
                      <a:pt x="21599" y="1270"/>
                    </a:lnTo>
                    <a:lnTo>
                      <a:pt x="20249" y="0"/>
                    </a:lnTo>
                    <a:lnTo>
                      <a:pt x="17549" y="0"/>
                    </a:lnTo>
                    <a:lnTo>
                      <a:pt x="14849" y="1270"/>
                    </a:lnTo>
                    <a:lnTo>
                      <a:pt x="13499" y="3811"/>
                    </a:lnTo>
                    <a:lnTo>
                      <a:pt x="8100" y="8894"/>
                    </a:lnTo>
                    <a:lnTo>
                      <a:pt x="5400" y="12705"/>
                    </a:lnTo>
                    <a:lnTo>
                      <a:pt x="1350" y="16517"/>
                    </a:lnTo>
                    <a:lnTo>
                      <a:pt x="1350" y="17788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8" name="AutoShape 204"/>
              <p:cNvSpPr>
                <a:spLocks/>
              </p:cNvSpPr>
              <p:nvPr/>
            </p:nvSpPr>
            <p:spPr bwMode="auto">
              <a:xfrm>
                <a:off x="1243301" y="1581860"/>
                <a:ext cx="66675" cy="4918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119" y="939"/>
                    </a:moveTo>
                    <a:lnTo>
                      <a:pt x="10800" y="3756"/>
                    </a:lnTo>
                    <a:lnTo>
                      <a:pt x="7199" y="4695"/>
                    </a:lnTo>
                    <a:lnTo>
                      <a:pt x="2159" y="7513"/>
                    </a:lnTo>
                    <a:lnTo>
                      <a:pt x="2159" y="8452"/>
                    </a:lnTo>
                    <a:lnTo>
                      <a:pt x="719" y="10330"/>
                    </a:lnTo>
                    <a:lnTo>
                      <a:pt x="719" y="12208"/>
                    </a:lnTo>
                    <a:lnTo>
                      <a:pt x="0" y="14086"/>
                    </a:lnTo>
                    <a:lnTo>
                      <a:pt x="0" y="15965"/>
                    </a:lnTo>
                    <a:lnTo>
                      <a:pt x="719" y="16904"/>
                    </a:lnTo>
                    <a:lnTo>
                      <a:pt x="2879" y="15965"/>
                    </a:lnTo>
                    <a:lnTo>
                      <a:pt x="4319" y="15965"/>
                    </a:lnTo>
                    <a:lnTo>
                      <a:pt x="5759" y="15026"/>
                    </a:lnTo>
                    <a:lnTo>
                      <a:pt x="7199" y="15026"/>
                    </a:lnTo>
                    <a:lnTo>
                      <a:pt x="7199" y="17843"/>
                    </a:lnTo>
                    <a:lnTo>
                      <a:pt x="9360" y="20660"/>
                    </a:lnTo>
                    <a:lnTo>
                      <a:pt x="10800" y="20660"/>
                    </a:lnTo>
                    <a:lnTo>
                      <a:pt x="11519" y="21599"/>
                    </a:lnTo>
                    <a:lnTo>
                      <a:pt x="15119" y="21599"/>
                    </a:lnTo>
                    <a:lnTo>
                      <a:pt x="15839" y="19721"/>
                    </a:lnTo>
                    <a:lnTo>
                      <a:pt x="15839" y="15965"/>
                    </a:lnTo>
                    <a:lnTo>
                      <a:pt x="15119" y="15026"/>
                    </a:lnTo>
                    <a:lnTo>
                      <a:pt x="15119" y="14086"/>
                    </a:lnTo>
                    <a:lnTo>
                      <a:pt x="15839" y="13147"/>
                    </a:lnTo>
                    <a:lnTo>
                      <a:pt x="16559" y="13147"/>
                    </a:lnTo>
                    <a:lnTo>
                      <a:pt x="19439" y="16904"/>
                    </a:lnTo>
                    <a:lnTo>
                      <a:pt x="20159" y="15965"/>
                    </a:lnTo>
                    <a:lnTo>
                      <a:pt x="20879" y="14086"/>
                    </a:lnTo>
                    <a:lnTo>
                      <a:pt x="21600" y="11269"/>
                    </a:lnTo>
                    <a:lnTo>
                      <a:pt x="21600" y="7513"/>
                    </a:lnTo>
                    <a:lnTo>
                      <a:pt x="20159" y="3756"/>
                    </a:lnTo>
                    <a:lnTo>
                      <a:pt x="18720" y="1878"/>
                    </a:lnTo>
                    <a:lnTo>
                      <a:pt x="17279" y="939"/>
                    </a:lnTo>
                    <a:lnTo>
                      <a:pt x="16559" y="0"/>
                    </a:lnTo>
                    <a:lnTo>
                      <a:pt x="15119" y="93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49" name="AutoShape 205"/>
              <p:cNvSpPr>
                <a:spLocks/>
              </p:cNvSpPr>
              <p:nvPr/>
            </p:nvSpPr>
            <p:spPr bwMode="auto">
              <a:xfrm>
                <a:off x="1081375" y="1612006"/>
                <a:ext cx="122237" cy="9995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2400" y="12600"/>
                    </a:moveTo>
                    <a:lnTo>
                      <a:pt x="14000" y="10350"/>
                    </a:lnTo>
                    <a:lnTo>
                      <a:pt x="17999" y="10350"/>
                    </a:lnTo>
                    <a:lnTo>
                      <a:pt x="19200" y="9899"/>
                    </a:lnTo>
                    <a:lnTo>
                      <a:pt x="19999" y="9899"/>
                    </a:lnTo>
                    <a:lnTo>
                      <a:pt x="20400" y="9450"/>
                    </a:lnTo>
                    <a:lnTo>
                      <a:pt x="17200" y="8550"/>
                    </a:lnTo>
                    <a:lnTo>
                      <a:pt x="21599" y="7200"/>
                    </a:lnTo>
                    <a:lnTo>
                      <a:pt x="21599" y="5850"/>
                    </a:lnTo>
                    <a:lnTo>
                      <a:pt x="20799" y="5399"/>
                    </a:lnTo>
                    <a:lnTo>
                      <a:pt x="20799" y="4949"/>
                    </a:lnTo>
                    <a:lnTo>
                      <a:pt x="17999" y="1800"/>
                    </a:lnTo>
                    <a:lnTo>
                      <a:pt x="17999" y="1349"/>
                    </a:lnTo>
                    <a:lnTo>
                      <a:pt x="17600" y="1349"/>
                    </a:lnTo>
                    <a:lnTo>
                      <a:pt x="17600" y="900"/>
                    </a:lnTo>
                    <a:lnTo>
                      <a:pt x="16799" y="0"/>
                    </a:lnTo>
                    <a:lnTo>
                      <a:pt x="16399" y="0"/>
                    </a:lnTo>
                    <a:lnTo>
                      <a:pt x="14799" y="900"/>
                    </a:lnTo>
                    <a:lnTo>
                      <a:pt x="14400" y="900"/>
                    </a:lnTo>
                    <a:lnTo>
                      <a:pt x="13199" y="2249"/>
                    </a:lnTo>
                    <a:lnTo>
                      <a:pt x="11599" y="3150"/>
                    </a:lnTo>
                    <a:lnTo>
                      <a:pt x="9600" y="8099"/>
                    </a:lnTo>
                    <a:lnTo>
                      <a:pt x="9600" y="8550"/>
                    </a:lnTo>
                    <a:lnTo>
                      <a:pt x="9199" y="8550"/>
                    </a:lnTo>
                    <a:lnTo>
                      <a:pt x="8399" y="8999"/>
                    </a:lnTo>
                    <a:lnTo>
                      <a:pt x="7200" y="10350"/>
                    </a:lnTo>
                    <a:lnTo>
                      <a:pt x="6400" y="10800"/>
                    </a:lnTo>
                    <a:lnTo>
                      <a:pt x="5999" y="10800"/>
                    </a:lnTo>
                    <a:lnTo>
                      <a:pt x="3200" y="13949"/>
                    </a:lnTo>
                    <a:lnTo>
                      <a:pt x="3200" y="14400"/>
                    </a:lnTo>
                    <a:lnTo>
                      <a:pt x="1600" y="18900"/>
                    </a:lnTo>
                    <a:lnTo>
                      <a:pt x="0" y="19799"/>
                    </a:lnTo>
                    <a:lnTo>
                      <a:pt x="400" y="20250"/>
                    </a:lnTo>
                    <a:lnTo>
                      <a:pt x="2800" y="21600"/>
                    </a:lnTo>
                    <a:lnTo>
                      <a:pt x="3200" y="21600"/>
                    </a:lnTo>
                    <a:lnTo>
                      <a:pt x="4400" y="20250"/>
                    </a:lnTo>
                    <a:lnTo>
                      <a:pt x="4800" y="19350"/>
                    </a:lnTo>
                    <a:lnTo>
                      <a:pt x="5600" y="18450"/>
                    </a:lnTo>
                    <a:lnTo>
                      <a:pt x="6400" y="17999"/>
                    </a:lnTo>
                    <a:lnTo>
                      <a:pt x="7599" y="17550"/>
                    </a:lnTo>
                    <a:lnTo>
                      <a:pt x="10800" y="15749"/>
                    </a:lnTo>
                    <a:lnTo>
                      <a:pt x="12400" y="12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50" name="AutoShape 206"/>
              <p:cNvSpPr>
                <a:spLocks/>
              </p:cNvSpPr>
              <p:nvPr/>
            </p:nvSpPr>
            <p:spPr bwMode="auto">
              <a:xfrm>
                <a:off x="1059150" y="1656432"/>
                <a:ext cx="134937" cy="11423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8359" y="5498"/>
                    </a:moveTo>
                    <a:lnTo>
                      <a:pt x="18359" y="6676"/>
                    </a:lnTo>
                    <a:lnTo>
                      <a:pt x="19079" y="6676"/>
                    </a:lnTo>
                    <a:lnTo>
                      <a:pt x="20159" y="7069"/>
                    </a:lnTo>
                    <a:lnTo>
                      <a:pt x="20879" y="7461"/>
                    </a:lnTo>
                    <a:lnTo>
                      <a:pt x="21600" y="8247"/>
                    </a:lnTo>
                    <a:lnTo>
                      <a:pt x="20519" y="9425"/>
                    </a:lnTo>
                    <a:lnTo>
                      <a:pt x="19439" y="9425"/>
                    </a:lnTo>
                    <a:lnTo>
                      <a:pt x="19079" y="9818"/>
                    </a:lnTo>
                    <a:lnTo>
                      <a:pt x="18359" y="10210"/>
                    </a:lnTo>
                    <a:lnTo>
                      <a:pt x="18359" y="10603"/>
                    </a:lnTo>
                    <a:lnTo>
                      <a:pt x="17999" y="10996"/>
                    </a:lnTo>
                    <a:lnTo>
                      <a:pt x="17639" y="13745"/>
                    </a:lnTo>
                    <a:lnTo>
                      <a:pt x="16919" y="13745"/>
                    </a:lnTo>
                    <a:lnTo>
                      <a:pt x="15479" y="15316"/>
                    </a:lnTo>
                    <a:lnTo>
                      <a:pt x="15479" y="15709"/>
                    </a:lnTo>
                    <a:lnTo>
                      <a:pt x="15119" y="16101"/>
                    </a:lnTo>
                    <a:lnTo>
                      <a:pt x="15119" y="16494"/>
                    </a:lnTo>
                    <a:lnTo>
                      <a:pt x="14759" y="17672"/>
                    </a:lnTo>
                    <a:lnTo>
                      <a:pt x="14759" y="18458"/>
                    </a:lnTo>
                    <a:lnTo>
                      <a:pt x="14039" y="20029"/>
                    </a:lnTo>
                    <a:lnTo>
                      <a:pt x="13319" y="20814"/>
                    </a:lnTo>
                    <a:lnTo>
                      <a:pt x="12599" y="21207"/>
                    </a:lnTo>
                    <a:lnTo>
                      <a:pt x="11879" y="21207"/>
                    </a:lnTo>
                    <a:lnTo>
                      <a:pt x="11519" y="21599"/>
                    </a:lnTo>
                    <a:lnTo>
                      <a:pt x="10800" y="19636"/>
                    </a:lnTo>
                    <a:lnTo>
                      <a:pt x="8999" y="19636"/>
                    </a:lnTo>
                    <a:lnTo>
                      <a:pt x="8999" y="18850"/>
                    </a:lnTo>
                    <a:lnTo>
                      <a:pt x="5399" y="18850"/>
                    </a:lnTo>
                    <a:lnTo>
                      <a:pt x="4679" y="18458"/>
                    </a:lnTo>
                    <a:lnTo>
                      <a:pt x="3599" y="17280"/>
                    </a:lnTo>
                    <a:lnTo>
                      <a:pt x="2159" y="16494"/>
                    </a:lnTo>
                    <a:lnTo>
                      <a:pt x="1079" y="16101"/>
                    </a:lnTo>
                    <a:lnTo>
                      <a:pt x="359" y="15709"/>
                    </a:lnTo>
                    <a:lnTo>
                      <a:pt x="0" y="15316"/>
                    </a:lnTo>
                    <a:lnTo>
                      <a:pt x="0" y="14530"/>
                    </a:lnTo>
                    <a:lnTo>
                      <a:pt x="359" y="14530"/>
                    </a:lnTo>
                    <a:lnTo>
                      <a:pt x="719" y="14138"/>
                    </a:lnTo>
                    <a:lnTo>
                      <a:pt x="359" y="11781"/>
                    </a:lnTo>
                    <a:lnTo>
                      <a:pt x="359" y="10210"/>
                    </a:lnTo>
                    <a:lnTo>
                      <a:pt x="1079" y="8640"/>
                    </a:lnTo>
                    <a:lnTo>
                      <a:pt x="1439" y="8247"/>
                    </a:lnTo>
                    <a:lnTo>
                      <a:pt x="5039" y="8247"/>
                    </a:lnTo>
                    <a:lnTo>
                      <a:pt x="3599" y="9032"/>
                    </a:lnTo>
                    <a:lnTo>
                      <a:pt x="3959" y="9425"/>
                    </a:lnTo>
                    <a:lnTo>
                      <a:pt x="4679" y="9818"/>
                    </a:lnTo>
                    <a:lnTo>
                      <a:pt x="5039" y="10210"/>
                    </a:lnTo>
                    <a:lnTo>
                      <a:pt x="5759" y="10603"/>
                    </a:lnTo>
                    <a:lnTo>
                      <a:pt x="7199" y="9818"/>
                    </a:lnTo>
                    <a:lnTo>
                      <a:pt x="7919" y="8640"/>
                    </a:lnTo>
                    <a:lnTo>
                      <a:pt x="8639" y="8247"/>
                    </a:lnTo>
                    <a:lnTo>
                      <a:pt x="8999" y="7461"/>
                    </a:lnTo>
                    <a:lnTo>
                      <a:pt x="10079" y="7461"/>
                    </a:lnTo>
                    <a:lnTo>
                      <a:pt x="10439" y="7069"/>
                    </a:lnTo>
                    <a:lnTo>
                      <a:pt x="12599" y="5890"/>
                    </a:lnTo>
                    <a:lnTo>
                      <a:pt x="12959" y="5498"/>
                    </a:lnTo>
                    <a:lnTo>
                      <a:pt x="13319" y="5498"/>
                    </a:lnTo>
                    <a:lnTo>
                      <a:pt x="14759" y="2749"/>
                    </a:lnTo>
                    <a:lnTo>
                      <a:pt x="16199" y="785"/>
                    </a:lnTo>
                    <a:lnTo>
                      <a:pt x="20159" y="785"/>
                    </a:lnTo>
                    <a:lnTo>
                      <a:pt x="21600" y="0"/>
                    </a:lnTo>
                    <a:lnTo>
                      <a:pt x="21600" y="392"/>
                    </a:lnTo>
                    <a:lnTo>
                      <a:pt x="20879" y="1178"/>
                    </a:lnTo>
                    <a:lnTo>
                      <a:pt x="20159" y="1570"/>
                    </a:lnTo>
                    <a:lnTo>
                      <a:pt x="19439" y="2356"/>
                    </a:lnTo>
                    <a:lnTo>
                      <a:pt x="18359" y="2749"/>
                    </a:lnTo>
                    <a:lnTo>
                      <a:pt x="18359" y="5498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51" name="AutoShape 207"/>
              <p:cNvSpPr>
                <a:spLocks/>
              </p:cNvSpPr>
              <p:nvPr/>
            </p:nvSpPr>
            <p:spPr bwMode="auto">
              <a:xfrm>
                <a:off x="1198851" y="1678645"/>
                <a:ext cx="93662" cy="1015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214" y="19799"/>
                    </a:moveTo>
                    <a:lnTo>
                      <a:pt x="2634" y="20700"/>
                    </a:lnTo>
                    <a:lnTo>
                      <a:pt x="2634" y="20250"/>
                    </a:lnTo>
                    <a:lnTo>
                      <a:pt x="2107" y="19350"/>
                    </a:lnTo>
                    <a:lnTo>
                      <a:pt x="2107" y="16199"/>
                    </a:lnTo>
                    <a:lnTo>
                      <a:pt x="3160" y="14400"/>
                    </a:lnTo>
                    <a:lnTo>
                      <a:pt x="3160" y="13050"/>
                    </a:lnTo>
                    <a:lnTo>
                      <a:pt x="1580" y="11700"/>
                    </a:lnTo>
                    <a:lnTo>
                      <a:pt x="526" y="11700"/>
                    </a:lnTo>
                    <a:lnTo>
                      <a:pt x="0" y="11250"/>
                    </a:lnTo>
                    <a:lnTo>
                      <a:pt x="0" y="10350"/>
                    </a:lnTo>
                    <a:lnTo>
                      <a:pt x="1580" y="7650"/>
                    </a:lnTo>
                    <a:lnTo>
                      <a:pt x="2107" y="7200"/>
                    </a:lnTo>
                    <a:lnTo>
                      <a:pt x="2107" y="4499"/>
                    </a:lnTo>
                    <a:lnTo>
                      <a:pt x="2634" y="4049"/>
                    </a:lnTo>
                    <a:lnTo>
                      <a:pt x="3687" y="3600"/>
                    </a:lnTo>
                    <a:lnTo>
                      <a:pt x="3687" y="4049"/>
                    </a:lnTo>
                    <a:lnTo>
                      <a:pt x="4214" y="4049"/>
                    </a:lnTo>
                    <a:lnTo>
                      <a:pt x="4741" y="3600"/>
                    </a:lnTo>
                    <a:lnTo>
                      <a:pt x="5268" y="3600"/>
                    </a:lnTo>
                    <a:lnTo>
                      <a:pt x="5268" y="2699"/>
                    </a:lnTo>
                    <a:lnTo>
                      <a:pt x="6321" y="1800"/>
                    </a:lnTo>
                    <a:lnTo>
                      <a:pt x="7902" y="900"/>
                    </a:lnTo>
                    <a:lnTo>
                      <a:pt x="8956" y="449"/>
                    </a:lnTo>
                    <a:lnTo>
                      <a:pt x="11063" y="0"/>
                    </a:lnTo>
                    <a:lnTo>
                      <a:pt x="14751" y="0"/>
                    </a:lnTo>
                    <a:lnTo>
                      <a:pt x="17912" y="900"/>
                    </a:lnTo>
                    <a:lnTo>
                      <a:pt x="18439" y="1349"/>
                    </a:lnTo>
                    <a:lnTo>
                      <a:pt x="20019" y="1349"/>
                    </a:lnTo>
                    <a:lnTo>
                      <a:pt x="20019" y="900"/>
                    </a:lnTo>
                    <a:lnTo>
                      <a:pt x="20546" y="900"/>
                    </a:lnTo>
                    <a:lnTo>
                      <a:pt x="21073" y="1349"/>
                    </a:lnTo>
                    <a:lnTo>
                      <a:pt x="21600" y="2249"/>
                    </a:lnTo>
                    <a:lnTo>
                      <a:pt x="21600" y="4049"/>
                    </a:lnTo>
                    <a:lnTo>
                      <a:pt x="19492" y="4949"/>
                    </a:lnTo>
                    <a:lnTo>
                      <a:pt x="17912" y="4949"/>
                    </a:lnTo>
                    <a:lnTo>
                      <a:pt x="17385" y="4499"/>
                    </a:lnTo>
                    <a:lnTo>
                      <a:pt x="16858" y="3600"/>
                    </a:lnTo>
                    <a:lnTo>
                      <a:pt x="15278" y="2249"/>
                    </a:lnTo>
                    <a:lnTo>
                      <a:pt x="14224" y="1800"/>
                    </a:lnTo>
                    <a:lnTo>
                      <a:pt x="13170" y="1800"/>
                    </a:lnTo>
                    <a:lnTo>
                      <a:pt x="12117" y="1349"/>
                    </a:lnTo>
                    <a:lnTo>
                      <a:pt x="10536" y="1800"/>
                    </a:lnTo>
                    <a:lnTo>
                      <a:pt x="9482" y="2249"/>
                    </a:lnTo>
                    <a:lnTo>
                      <a:pt x="7902" y="3150"/>
                    </a:lnTo>
                    <a:lnTo>
                      <a:pt x="6848" y="3600"/>
                    </a:lnTo>
                    <a:lnTo>
                      <a:pt x="6321" y="4049"/>
                    </a:lnTo>
                    <a:lnTo>
                      <a:pt x="5795" y="4949"/>
                    </a:lnTo>
                    <a:lnTo>
                      <a:pt x="5795" y="6750"/>
                    </a:lnTo>
                    <a:lnTo>
                      <a:pt x="5268" y="7650"/>
                    </a:lnTo>
                    <a:lnTo>
                      <a:pt x="5268" y="8550"/>
                    </a:lnTo>
                    <a:lnTo>
                      <a:pt x="6321" y="8550"/>
                    </a:lnTo>
                    <a:lnTo>
                      <a:pt x="7375" y="8099"/>
                    </a:lnTo>
                    <a:lnTo>
                      <a:pt x="10536" y="8099"/>
                    </a:lnTo>
                    <a:lnTo>
                      <a:pt x="11590" y="7200"/>
                    </a:lnTo>
                    <a:lnTo>
                      <a:pt x="11590" y="6750"/>
                    </a:lnTo>
                    <a:lnTo>
                      <a:pt x="12643" y="6300"/>
                    </a:lnTo>
                    <a:lnTo>
                      <a:pt x="14224" y="6300"/>
                    </a:lnTo>
                    <a:lnTo>
                      <a:pt x="14224" y="8099"/>
                    </a:lnTo>
                    <a:lnTo>
                      <a:pt x="13697" y="8550"/>
                    </a:lnTo>
                    <a:lnTo>
                      <a:pt x="13170" y="8550"/>
                    </a:lnTo>
                    <a:lnTo>
                      <a:pt x="12117" y="8999"/>
                    </a:lnTo>
                    <a:lnTo>
                      <a:pt x="11063" y="8999"/>
                    </a:lnTo>
                    <a:lnTo>
                      <a:pt x="10009" y="9450"/>
                    </a:lnTo>
                    <a:lnTo>
                      <a:pt x="9482" y="9899"/>
                    </a:lnTo>
                    <a:lnTo>
                      <a:pt x="8429" y="9899"/>
                    </a:lnTo>
                    <a:lnTo>
                      <a:pt x="8429" y="10350"/>
                    </a:lnTo>
                    <a:lnTo>
                      <a:pt x="7902" y="10800"/>
                    </a:lnTo>
                    <a:lnTo>
                      <a:pt x="8429" y="11250"/>
                    </a:lnTo>
                    <a:lnTo>
                      <a:pt x="10536" y="12149"/>
                    </a:lnTo>
                    <a:lnTo>
                      <a:pt x="12117" y="14850"/>
                    </a:lnTo>
                    <a:lnTo>
                      <a:pt x="12117" y="15749"/>
                    </a:lnTo>
                    <a:lnTo>
                      <a:pt x="15278" y="17100"/>
                    </a:lnTo>
                    <a:lnTo>
                      <a:pt x="16331" y="20250"/>
                    </a:lnTo>
                    <a:lnTo>
                      <a:pt x="12117" y="20700"/>
                    </a:lnTo>
                    <a:lnTo>
                      <a:pt x="10009" y="21600"/>
                    </a:lnTo>
                    <a:lnTo>
                      <a:pt x="8956" y="17999"/>
                    </a:lnTo>
                    <a:lnTo>
                      <a:pt x="8956" y="14400"/>
                    </a:lnTo>
                    <a:lnTo>
                      <a:pt x="7375" y="13050"/>
                    </a:lnTo>
                    <a:lnTo>
                      <a:pt x="6321" y="13050"/>
                    </a:lnTo>
                    <a:lnTo>
                      <a:pt x="6321" y="17550"/>
                    </a:lnTo>
                    <a:lnTo>
                      <a:pt x="4214" y="197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52" name="AutoShape 208"/>
              <p:cNvSpPr>
                <a:spLocks/>
              </p:cNvSpPr>
              <p:nvPr/>
            </p:nvSpPr>
            <p:spPr bwMode="auto">
              <a:xfrm>
                <a:off x="852775" y="1634219"/>
                <a:ext cx="153987" cy="15548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317" y="291"/>
                    </a:lnTo>
                    <a:lnTo>
                      <a:pt x="635" y="291"/>
                    </a:lnTo>
                    <a:lnTo>
                      <a:pt x="1270" y="583"/>
                    </a:lnTo>
                    <a:lnTo>
                      <a:pt x="1905" y="583"/>
                    </a:lnTo>
                    <a:lnTo>
                      <a:pt x="2858" y="291"/>
                    </a:lnTo>
                    <a:lnTo>
                      <a:pt x="3176" y="291"/>
                    </a:lnTo>
                    <a:lnTo>
                      <a:pt x="3811" y="0"/>
                    </a:lnTo>
                    <a:lnTo>
                      <a:pt x="5082" y="583"/>
                    </a:lnTo>
                    <a:lnTo>
                      <a:pt x="5717" y="1167"/>
                    </a:lnTo>
                    <a:lnTo>
                      <a:pt x="6035" y="2043"/>
                    </a:lnTo>
                    <a:lnTo>
                      <a:pt x="6670" y="2627"/>
                    </a:lnTo>
                    <a:lnTo>
                      <a:pt x="6670" y="2918"/>
                    </a:lnTo>
                    <a:lnTo>
                      <a:pt x="10482" y="6129"/>
                    </a:lnTo>
                    <a:lnTo>
                      <a:pt x="10800" y="5837"/>
                    </a:lnTo>
                    <a:lnTo>
                      <a:pt x="11435" y="6129"/>
                    </a:lnTo>
                    <a:lnTo>
                      <a:pt x="13023" y="7297"/>
                    </a:lnTo>
                    <a:lnTo>
                      <a:pt x="14611" y="8756"/>
                    </a:lnTo>
                    <a:lnTo>
                      <a:pt x="16517" y="9924"/>
                    </a:lnTo>
                    <a:lnTo>
                      <a:pt x="17470" y="10800"/>
                    </a:lnTo>
                    <a:lnTo>
                      <a:pt x="16835" y="10800"/>
                    </a:lnTo>
                    <a:lnTo>
                      <a:pt x="16517" y="11091"/>
                    </a:lnTo>
                    <a:lnTo>
                      <a:pt x="16199" y="11091"/>
                    </a:lnTo>
                    <a:lnTo>
                      <a:pt x="16517" y="11383"/>
                    </a:lnTo>
                    <a:lnTo>
                      <a:pt x="16835" y="11967"/>
                    </a:lnTo>
                    <a:lnTo>
                      <a:pt x="18105" y="12843"/>
                    </a:lnTo>
                    <a:lnTo>
                      <a:pt x="18105" y="14594"/>
                    </a:lnTo>
                    <a:lnTo>
                      <a:pt x="20011" y="14594"/>
                    </a:lnTo>
                    <a:lnTo>
                      <a:pt x="20647" y="15178"/>
                    </a:lnTo>
                    <a:lnTo>
                      <a:pt x="21600" y="16929"/>
                    </a:lnTo>
                    <a:lnTo>
                      <a:pt x="21282" y="16929"/>
                    </a:lnTo>
                    <a:lnTo>
                      <a:pt x="21282" y="18097"/>
                    </a:lnTo>
                    <a:lnTo>
                      <a:pt x="21600" y="18681"/>
                    </a:lnTo>
                    <a:lnTo>
                      <a:pt x="21600" y="20432"/>
                    </a:lnTo>
                    <a:lnTo>
                      <a:pt x="21282" y="21016"/>
                    </a:lnTo>
                    <a:lnTo>
                      <a:pt x="20964" y="21308"/>
                    </a:lnTo>
                    <a:lnTo>
                      <a:pt x="20329" y="21600"/>
                    </a:lnTo>
                    <a:lnTo>
                      <a:pt x="19376" y="21600"/>
                    </a:lnTo>
                    <a:lnTo>
                      <a:pt x="16199" y="20724"/>
                    </a:lnTo>
                    <a:lnTo>
                      <a:pt x="15882" y="20140"/>
                    </a:lnTo>
                    <a:lnTo>
                      <a:pt x="14611" y="18681"/>
                    </a:lnTo>
                    <a:lnTo>
                      <a:pt x="13023" y="16929"/>
                    </a:lnTo>
                    <a:lnTo>
                      <a:pt x="9847" y="12843"/>
                    </a:lnTo>
                    <a:lnTo>
                      <a:pt x="8894" y="11383"/>
                    </a:lnTo>
                    <a:lnTo>
                      <a:pt x="8258" y="9924"/>
                    </a:lnTo>
                    <a:lnTo>
                      <a:pt x="6988" y="9048"/>
                    </a:lnTo>
                    <a:lnTo>
                      <a:pt x="6988" y="8756"/>
                    </a:lnTo>
                    <a:lnTo>
                      <a:pt x="6670" y="8464"/>
                    </a:lnTo>
                    <a:lnTo>
                      <a:pt x="6035" y="7297"/>
                    </a:lnTo>
                    <a:lnTo>
                      <a:pt x="5399" y="6713"/>
                    </a:lnTo>
                    <a:lnTo>
                      <a:pt x="5082" y="6129"/>
                    </a:lnTo>
                    <a:lnTo>
                      <a:pt x="2223" y="2627"/>
                    </a:lnTo>
                    <a:lnTo>
                      <a:pt x="1905" y="2335"/>
                    </a:lnTo>
                    <a:lnTo>
                      <a:pt x="1270" y="2043"/>
                    </a:lnTo>
                    <a:lnTo>
                      <a:pt x="0" y="87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53" name="AutoShape 209"/>
              <p:cNvSpPr>
                <a:spLocks/>
              </p:cNvSpPr>
              <p:nvPr/>
            </p:nvSpPr>
            <p:spPr bwMode="auto">
              <a:xfrm>
                <a:off x="1003587" y="1794468"/>
                <a:ext cx="130175" cy="3332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310" y="14849"/>
                    </a:moveTo>
                    <a:lnTo>
                      <a:pt x="4096" y="14849"/>
                    </a:lnTo>
                    <a:lnTo>
                      <a:pt x="0" y="6749"/>
                    </a:lnTo>
                    <a:lnTo>
                      <a:pt x="372" y="2699"/>
                    </a:lnTo>
                    <a:lnTo>
                      <a:pt x="1862" y="0"/>
                    </a:lnTo>
                    <a:lnTo>
                      <a:pt x="4841" y="0"/>
                    </a:lnTo>
                    <a:lnTo>
                      <a:pt x="10427" y="5399"/>
                    </a:lnTo>
                    <a:lnTo>
                      <a:pt x="10800" y="5399"/>
                    </a:lnTo>
                    <a:lnTo>
                      <a:pt x="11544" y="4049"/>
                    </a:lnTo>
                    <a:lnTo>
                      <a:pt x="14896" y="4049"/>
                    </a:lnTo>
                    <a:lnTo>
                      <a:pt x="15641" y="5399"/>
                    </a:lnTo>
                    <a:lnTo>
                      <a:pt x="16758" y="8099"/>
                    </a:lnTo>
                    <a:lnTo>
                      <a:pt x="20110" y="12149"/>
                    </a:lnTo>
                    <a:lnTo>
                      <a:pt x="20482" y="13499"/>
                    </a:lnTo>
                    <a:lnTo>
                      <a:pt x="20855" y="13499"/>
                    </a:lnTo>
                    <a:lnTo>
                      <a:pt x="21227" y="14849"/>
                    </a:lnTo>
                    <a:lnTo>
                      <a:pt x="21227" y="16199"/>
                    </a:lnTo>
                    <a:lnTo>
                      <a:pt x="21600" y="18900"/>
                    </a:lnTo>
                    <a:lnTo>
                      <a:pt x="21227" y="20249"/>
                    </a:lnTo>
                    <a:lnTo>
                      <a:pt x="21227" y="21600"/>
                    </a:lnTo>
                    <a:lnTo>
                      <a:pt x="18620" y="21600"/>
                    </a:lnTo>
                    <a:lnTo>
                      <a:pt x="16386" y="20249"/>
                    </a:lnTo>
                    <a:lnTo>
                      <a:pt x="14151" y="20249"/>
                    </a:lnTo>
                    <a:lnTo>
                      <a:pt x="13406" y="18900"/>
                    </a:lnTo>
                    <a:lnTo>
                      <a:pt x="9310" y="1484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54" name="AutoShape 210"/>
              <p:cNvSpPr>
                <a:spLocks/>
              </p:cNvSpPr>
              <p:nvPr userDrawn="1"/>
            </p:nvSpPr>
            <p:spPr bwMode="auto">
              <a:xfrm>
                <a:off x="192375" y="856772"/>
                <a:ext cx="585787" cy="260207"/>
              </a:xfrm>
              <a:custGeom>
                <a:avLst/>
                <a:gdLst>
                  <a:gd name="T0" fmla="*/ 10614 w 21228"/>
                  <a:gd name="T1" fmla="*/ 10800 h 21600"/>
                  <a:gd name="T2" fmla="*/ 10614 w 21228"/>
                  <a:gd name="T3" fmla="*/ 10800 h 21600"/>
                  <a:gd name="T4" fmla="*/ 10614 w 21228"/>
                  <a:gd name="T5" fmla="*/ 10800 h 21600"/>
                  <a:gd name="T6" fmla="*/ 10614 w 21228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228" h="21600">
                    <a:moveTo>
                      <a:pt x="977" y="9884"/>
                    </a:moveTo>
                    <a:lnTo>
                      <a:pt x="601" y="8237"/>
                    </a:lnTo>
                    <a:lnTo>
                      <a:pt x="0" y="7138"/>
                    </a:lnTo>
                    <a:lnTo>
                      <a:pt x="977" y="6223"/>
                    </a:lnTo>
                    <a:lnTo>
                      <a:pt x="1503" y="4942"/>
                    </a:lnTo>
                    <a:lnTo>
                      <a:pt x="2180" y="5857"/>
                    </a:lnTo>
                    <a:lnTo>
                      <a:pt x="4285" y="4393"/>
                    </a:lnTo>
                    <a:lnTo>
                      <a:pt x="5262" y="4942"/>
                    </a:lnTo>
                    <a:lnTo>
                      <a:pt x="6615" y="4942"/>
                    </a:lnTo>
                    <a:lnTo>
                      <a:pt x="7217" y="4393"/>
                    </a:lnTo>
                    <a:lnTo>
                      <a:pt x="7818" y="2196"/>
                    </a:lnTo>
                    <a:lnTo>
                      <a:pt x="9021" y="2196"/>
                    </a:lnTo>
                    <a:lnTo>
                      <a:pt x="9773" y="0"/>
                    </a:lnTo>
                    <a:lnTo>
                      <a:pt x="10901" y="0"/>
                    </a:lnTo>
                    <a:lnTo>
                      <a:pt x="12404" y="1464"/>
                    </a:lnTo>
                    <a:lnTo>
                      <a:pt x="13908" y="1464"/>
                    </a:lnTo>
                    <a:lnTo>
                      <a:pt x="14735" y="0"/>
                    </a:lnTo>
                    <a:lnTo>
                      <a:pt x="15186" y="0"/>
                    </a:lnTo>
                    <a:lnTo>
                      <a:pt x="15336" y="1830"/>
                    </a:lnTo>
                    <a:lnTo>
                      <a:pt x="16915" y="4393"/>
                    </a:lnTo>
                    <a:lnTo>
                      <a:pt x="18343" y="5125"/>
                    </a:lnTo>
                    <a:lnTo>
                      <a:pt x="19997" y="6040"/>
                    </a:lnTo>
                    <a:lnTo>
                      <a:pt x="20975" y="6040"/>
                    </a:lnTo>
                    <a:cubicBezTo>
                      <a:pt x="21599" y="6328"/>
                      <a:pt x="20874" y="7138"/>
                      <a:pt x="20824" y="7688"/>
                    </a:cubicBezTo>
                    <a:lnTo>
                      <a:pt x="20749" y="9335"/>
                    </a:lnTo>
                    <a:lnTo>
                      <a:pt x="20448" y="10067"/>
                    </a:lnTo>
                    <a:lnTo>
                      <a:pt x="19772" y="9152"/>
                    </a:lnTo>
                    <a:lnTo>
                      <a:pt x="19546" y="10067"/>
                    </a:lnTo>
                    <a:cubicBezTo>
                      <a:pt x="19626" y="11226"/>
                      <a:pt x="19469" y="11166"/>
                      <a:pt x="19697" y="11166"/>
                    </a:cubicBezTo>
                    <a:lnTo>
                      <a:pt x="19621" y="12264"/>
                    </a:lnTo>
                    <a:lnTo>
                      <a:pt x="18870" y="12264"/>
                    </a:lnTo>
                    <a:lnTo>
                      <a:pt x="18870" y="13362"/>
                    </a:lnTo>
                    <a:lnTo>
                      <a:pt x="19246" y="15742"/>
                    </a:lnTo>
                    <a:lnTo>
                      <a:pt x="19170" y="17572"/>
                    </a:lnTo>
                    <a:lnTo>
                      <a:pt x="17592" y="19586"/>
                    </a:lnTo>
                    <a:lnTo>
                      <a:pt x="16614" y="20501"/>
                    </a:lnTo>
                    <a:lnTo>
                      <a:pt x="16238" y="21599"/>
                    </a:lnTo>
                    <a:lnTo>
                      <a:pt x="15712" y="21599"/>
                    </a:lnTo>
                    <a:lnTo>
                      <a:pt x="15261" y="21050"/>
                    </a:lnTo>
                    <a:lnTo>
                      <a:pt x="15487" y="18671"/>
                    </a:lnTo>
                    <a:cubicBezTo>
                      <a:pt x="16183" y="17352"/>
                      <a:pt x="15877" y="17389"/>
                      <a:pt x="16238" y="17389"/>
                    </a:cubicBezTo>
                    <a:lnTo>
                      <a:pt x="15712" y="15376"/>
                    </a:lnTo>
                    <a:cubicBezTo>
                      <a:pt x="15313" y="14987"/>
                      <a:pt x="15471" y="15010"/>
                      <a:pt x="15261" y="15010"/>
                    </a:cubicBezTo>
                    <a:lnTo>
                      <a:pt x="14509" y="15193"/>
                    </a:lnTo>
                    <a:lnTo>
                      <a:pt x="12855" y="15193"/>
                    </a:lnTo>
                    <a:cubicBezTo>
                      <a:pt x="11327" y="15379"/>
                      <a:pt x="11853" y="15376"/>
                      <a:pt x="11276" y="15376"/>
                    </a:cubicBezTo>
                    <a:lnTo>
                      <a:pt x="9472" y="14277"/>
                    </a:lnTo>
                    <a:lnTo>
                      <a:pt x="8269" y="12996"/>
                    </a:lnTo>
                    <a:lnTo>
                      <a:pt x="8044" y="12996"/>
                    </a:lnTo>
                    <a:lnTo>
                      <a:pt x="7517" y="10800"/>
                    </a:lnTo>
                    <a:lnTo>
                      <a:pt x="7292" y="10433"/>
                    </a:lnTo>
                    <a:lnTo>
                      <a:pt x="6766" y="11715"/>
                    </a:lnTo>
                    <a:cubicBezTo>
                      <a:pt x="6282" y="13089"/>
                      <a:pt x="6315" y="12434"/>
                      <a:pt x="6315" y="13362"/>
                    </a:cubicBezTo>
                    <a:lnTo>
                      <a:pt x="6164" y="13728"/>
                    </a:lnTo>
                    <a:lnTo>
                      <a:pt x="5864" y="13362"/>
                    </a:lnTo>
                    <a:lnTo>
                      <a:pt x="5488" y="14277"/>
                    </a:lnTo>
                    <a:lnTo>
                      <a:pt x="5563" y="16108"/>
                    </a:lnTo>
                    <a:lnTo>
                      <a:pt x="5563" y="17023"/>
                    </a:lnTo>
                    <a:lnTo>
                      <a:pt x="4510" y="17389"/>
                    </a:lnTo>
                    <a:lnTo>
                      <a:pt x="3984" y="17389"/>
                    </a:lnTo>
                    <a:lnTo>
                      <a:pt x="1707" y="17455"/>
                    </a:lnTo>
                    <a:cubicBezTo>
                      <a:pt x="1362" y="17384"/>
                      <a:pt x="1099" y="15605"/>
                      <a:pt x="1166" y="15134"/>
                    </a:cubicBezTo>
                    <a:cubicBezTo>
                      <a:pt x="1233" y="14662"/>
                      <a:pt x="1554" y="14282"/>
                      <a:pt x="2111" y="14628"/>
                    </a:cubicBezTo>
                    <a:cubicBezTo>
                      <a:pt x="2485" y="14189"/>
                      <a:pt x="2749" y="13196"/>
                      <a:pt x="2608" y="12502"/>
                    </a:cubicBezTo>
                    <a:cubicBezTo>
                      <a:pt x="2467" y="11808"/>
                      <a:pt x="1669" y="10903"/>
                      <a:pt x="1264" y="10466"/>
                    </a:cubicBezTo>
                    <a:lnTo>
                      <a:pt x="977" y="9884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miter lim="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55" name="AutoShape 211"/>
              <p:cNvSpPr>
                <a:spLocks/>
              </p:cNvSpPr>
              <p:nvPr/>
            </p:nvSpPr>
            <p:spPr bwMode="auto">
              <a:xfrm>
                <a:off x="755937" y="905957"/>
                <a:ext cx="492125" cy="18563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5" y="3972"/>
                    </a:moveTo>
                    <a:lnTo>
                      <a:pt x="1337" y="2482"/>
                    </a:lnTo>
                    <a:lnTo>
                      <a:pt x="1337" y="2234"/>
                    </a:lnTo>
                    <a:lnTo>
                      <a:pt x="1645" y="1489"/>
                    </a:lnTo>
                    <a:lnTo>
                      <a:pt x="1851" y="1241"/>
                    </a:lnTo>
                    <a:lnTo>
                      <a:pt x="2057" y="1241"/>
                    </a:lnTo>
                    <a:lnTo>
                      <a:pt x="2880" y="1737"/>
                    </a:lnTo>
                    <a:lnTo>
                      <a:pt x="3497" y="1737"/>
                    </a:lnTo>
                    <a:lnTo>
                      <a:pt x="4011" y="2234"/>
                    </a:lnTo>
                    <a:lnTo>
                      <a:pt x="4525" y="2979"/>
                    </a:lnTo>
                    <a:lnTo>
                      <a:pt x="5451" y="5213"/>
                    </a:lnTo>
                    <a:lnTo>
                      <a:pt x="5554" y="4965"/>
                    </a:lnTo>
                    <a:lnTo>
                      <a:pt x="5760" y="4965"/>
                    </a:lnTo>
                    <a:lnTo>
                      <a:pt x="5862" y="4468"/>
                    </a:lnTo>
                    <a:lnTo>
                      <a:pt x="6068" y="4220"/>
                    </a:lnTo>
                    <a:lnTo>
                      <a:pt x="6171" y="3475"/>
                    </a:lnTo>
                    <a:lnTo>
                      <a:pt x="6171" y="2731"/>
                    </a:lnTo>
                    <a:lnTo>
                      <a:pt x="6274" y="2482"/>
                    </a:lnTo>
                    <a:lnTo>
                      <a:pt x="6479" y="2234"/>
                    </a:lnTo>
                    <a:lnTo>
                      <a:pt x="6788" y="2234"/>
                    </a:lnTo>
                    <a:lnTo>
                      <a:pt x="7405" y="744"/>
                    </a:lnTo>
                    <a:lnTo>
                      <a:pt x="7919" y="0"/>
                    </a:lnTo>
                    <a:lnTo>
                      <a:pt x="8537" y="0"/>
                    </a:lnTo>
                    <a:lnTo>
                      <a:pt x="9154" y="496"/>
                    </a:lnTo>
                    <a:lnTo>
                      <a:pt x="9771" y="496"/>
                    </a:lnTo>
                    <a:lnTo>
                      <a:pt x="10285" y="248"/>
                    </a:lnTo>
                    <a:lnTo>
                      <a:pt x="11108" y="496"/>
                    </a:lnTo>
                    <a:lnTo>
                      <a:pt x="12034" y="1489"/>
                    </a:lnTo>
                    <a:lnTo>
                      <a:pt x="13062" y="2979"/>
                    </a:lnTo>
                    <a:lnTo>
                      <a:pt x="13165" y="2979"/>
                    </a:lnTo>
                    <a:lnTo>
                      <a:pt x="13474" y="3227"/>
                    </a:lnTo>
                    <a:lnTo>
                      <a:pt x="14091" y="3227"/>
                    </a:lnTo>
                    <a:lnTo>
                      <a:pt x="15017" y="2731"/>
                    </a:lnTo>
                    <a:lnTo>
                      <a:pt x="15634" y="2234"/>
                    </a:lnTo>
                    <a:lnTo>
                      <a:pt x="16045" y="1737"/>
                    </a:lnTo>
                    <a:lnTo>
                      <a:pt x="16354" y="1241"/>
                    </a:lnTo>
                    <a:lnTo>
                      <a:pt x="16457" y="744"/>
                    </a:lnTo>
                    <a:lnTo>
                      <a:pt x="16559" y="496"/>
                    </a:lnTo>
                    <a:lnTo>
                      <a:pt x="16559" y="248"/>
                    </a:lnTo>
                    <a:lnTo>
                      <a:pt x="16971" y="248"/>
                    </a:lnTo>
                    <a:lnTo>
                      <a:pt x="17588" y="744"/>
                    </a:lnTo>
                    <a:lnTo>
                      <a:pt x="18308" y="1737"/>
                    </a:lnTo>
                    <a:lnTo>
                      <a:pt x="19439" y="2731"/>
                    </a:lnTo>
                    <a:lnTo>
                      <a:pt x="19131" y="7448"/>
                    </a:lnTo>
                    <a:lnTo>
                      <a:pt x="20777" y="7448"/>
                    </a:lnTo>
                    <a:lnTo>
                      <a:pt x="21394" y="8193"/>
                    </a:lnTo>
                    <a:lnTo>
                      <a:pt x="21497" y="8441"/>
                    </a:lnTo>
                    <a:lnTo>
                      <a:pt x="21599" y="8937"/>
                    </a:lnTo>
                    <a:lnTo>
                      <a:pt x="21599" y="9434"/>
                    </a:lnTo>
                    <a:lnTo>
                      <a:pt x="21291" y="9682"/>
                    </a:lnTo>
                    <a:lnTo>
                      <a:pt x="21085" y="10179"/>
                    </a:lnTo>
                    <a:lnTo>
                      <a:pt x="20468" y="10675"/>
                    </a:lnTo>
                    <a:lnTo>
                      <a:pt x="20057" y="10924"/>
                    </a:lnTo>
                    <a:lnTo>
                      <a:pt x="19645" y="10924"/>
                    </a:lnTo>
                    <a:lnTo>
                      <a:pt x="18822" y="11917"/>
                    </a:lnTo>
                    <a:lnTo>
                      <a:pt x="18514" y="12413"/>
                    </a:lnTo>
                    <a:lnTo>
                      <a:pt x="18514" y="13158"/>
                    </a:lnTo>
                    <a:lnTo>
                      <a:pt x="18411" y="13903"/>
                    </a:lnTo>
                    <a:lnTo>
                      <a:pt x="18411" y="14400"/>
                    </a:lnTo>
                    <a:lnTo>
                      <a:pt x="18205" y="14896"/>
                    </a:lnTo>
                    <a:lnTo>
                      <a:pt x="17999" y="15641"/>
                    </a:lnTo>
                    <a:lnTo>
                      <a:pt x="17691" y="15889"/>
                    </a:lnTo>
                    <a:lnTo>
                      <a:pt x="17382" y="16386"/>
                    </a:lnTo>
                    <a:lnTo>
                      <a:pt x="16559" y="16882"/>
                    </a:lnTo>
                    <a:lnTo>
                      <a:pt x="15531" y="17379"/>
                    </a:lnTo>
                    <a:lnTo>
                      <a:pt x="14399" y="17875"/>
                    </a:lnTo>
                    <a:lnTo>
                      <a:pt x="13474" y="18372"/>
                    </a:lnTo>
                    <a:lnTo>
                      <a:pt x="12239" y="19117"/>
                    </a:lnTo>
                    <a:lnTo>
                      <a:pt x="11931" y="19613"/>
                    </a:lnTo>
                    <a:lnTo>
                      <a:pt x="11211" y="20606"/>
                    </a:lnTo>
                    <a:lnTo>
                      <a:pt x="10491" y="21351"/>
                    </a:lnTo>
                    <a:lnTo>
                      <a:pt x="9565" y="21599"/>
                    </a:lnTo>
                    <a:lnTo>
                      <a:pt x="9051" y="21351"/>
                    </a:lnTo>
                    <a:lnTo>
                      <a:pt x="8742" y="20606"/>
                    </a:lnTo>
                    <a:lnTo>
                      <a:pt x="8331" y="20110"/>
                    </a:lnTo>
                    <a:lnTo>
                      <a:pt x="8022" y="19862"/>
                    </a:lnTo>
                    <a:lnTo>
                      <a:pt x="7405" y="19862"/>
                    </a:lnTo>
                    <a:lnTo>
                      <a:pt x="6788" y="20110"/>
                    </a:lnTo>
                    <a:lnTo>
                      <a:pt x="5245" y="20110"/>
                    </a:lnTo>
                    <a:lnTo>
                      <a:pt x="4525" y="19862"/>
                    </a:lnTo>
                    <a:lnTo>
                      <a:pt x="4114" y="19365"/>
                    </a:lnTo>
                    <a:lnTo>
                      <a:pt x="3908" y="18372"/>
                    </a:lnTo>
                    <a:lnTo>
                      <a:pt x="3908" y="16634"/>
                    </a:lnTo>
                    <a:lnTo>
                      <a:pt x="3702" y="14896"/>
                    </a:lnTo>
                    <a:lnTo>
                      <a:pt x="3394" y="13406"/>
                    </a:lnTo>
                    <a:lnTo>
                      <a:pt x="2880" y="12413"/>
                    </a:lnTo>
                    <a:lnTo>
                      <a:pt x="2262" y="11668"/>
                    </a:lnTo>
                    <a:lnTo>
                      <a:pt x="1542" y="10924"/>
                    </a:lnTo>
                    <a:lnTo>
                      <a:pt x="822" y="9682"/>
                    </a:lnTo>
                    <a:lnTo>
                      <a:pt x="308" y="8193"/>
                    </a:lnTo>
                    <a:lnTo>
                      <a:pt x="0" y="6206"/>
                    </a:lnTo>
                    <a:lnTo>
                      <a:pt x="205" y="3972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</p:grpSp>
        <p:grpSp>
          <p:nvGrpSpPr>
            <p:cNvPr id="9" name="Group 212"/>
            <p:cNvGrpSpPr>
              <a:grpSpLocks/>
            </p:cNvGrpSpPr>
            <p:nvPr/>
          </p:nvGrpSpPr>
          <p:grpSpPr bwMode="auto">
            <a:xfrm>
              <a:off x="9143180" y="4377832"/>
              <a:ext cx="1813244" cy="1890591"/>
              <a:chOff x="-1" y="0"/>
              <a:chExt cx="843997" cy="812895"/>
            </a:xfrm>
            <a:grpFill/>
          </p:grpSpPr>
          <p:sp>
            <p:nvSpPr>
              <p:cNvPr id="10" name="AutoShape 213"/>
              <p:cNvSpPr>
                <a:spLocks/>
              </p:cNvSpPr>
              <p:nvPr/>
            </p:nvSpPr>
            <p:spPr bwMode="auto">
              <a:xfrm>
                <a:off x="442998" y="615792"/>
                <a:ext cx="65088" cy="5870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3724" y="771"/>
                    </a:moveTo>
                    <a:lnTo>
                      <a:pt x="2234" y="771"/>
                    </a:lnTo>
                    <a:lnTo>
                      <a:pt x="0" y="3085"/>
                    </a:lnTo>
                    <a:lnTo>
                      <a:pt x="0" y="5400"/>
                    </a:lnTo>
                    <a:lnTo>
                      <a:pt x="2234" y="11571"/>
                    </a:lnTo>
                    <a:lnTo>
                      <a:pt x="2979" y="12342"/>
                    </a:lnTo>
                    <a:lnTo>
                      <a:pt x="3724" y="13885"/>
                    </a:lnTo>
                    <a:lnTo>
                      <a:pt x="5213" y="15428"/>
                    </a:lnTo>
                    <a:lnTo>
                      <a:pt x="5213" y="16971"/>
                    </a:lnTo>
                    <a:lnTo>
                      <a:pt x="6703" y="17742"/>
                    </a:lnTo>
                    <a:lnTo>
                      <a:pt x="8193" y="19285"/>
                    </a:lnTo>
                    <a:lnTo>
                      <a:pt x="9682" y="20057"/>
                    </a:lnTo>
                    <a:lnTo>
                      <a:pt x="11917" y="20828"/>
                    </a:lnTo>
                    <a:lnTo>
                      <a:pt x="13406" y="21599"/>
                    </a:lnTo>
                    <a:lnTo>
                      <a:pt x="14896" y="20828"/>
                    </a:lnTo>
                    <a:lnTo>
                      <a:pt x="15641" y="20057"/>
                    </a:lnTo>
                    <a:lnTo>
                      <a:pt x="17131" y="19285"/>
                    </a:lnTo>
                    <a:lnTo>
                      <a:pt x="18620" y="16971"/>
                    </a:lnTo>
                    <a:lnTo>
                      <a:pt x="20110" y="15428"/>
                    </a:lnTo>
                    <a:lnTo>
                      <a:pt x="20855" y="13114"/>
                    </a:lnTo>
                    <a:lnTo>
                      <a:pt x="21599" y="11571"/>
                    </a:lnTo>
                    <a:lnTo>
                      <a:pt x="20855" y="9257"/>
                    </a:lnTo>
                    <a:lnTo>
                      <a:pt x="20855" y="2314"/>
                    </a:lnTo>
                    <a:lnTo>
                      <a:pt x="20110" y="2314"/>
                    </a:lnTo>
                    <a:lnTo>
                      <a:pt x="18620" y="771"/>
                    </a:lnTo>
                    <a:lnTo>
                      <a:pt x="17131" y="0"/>
                    </a:lnTo>
                    <a:lnTo>
                      <a:pt x="14896" y="0"/>
                    </a:lnTo>
                    <a:lnTo>
                      <a:pt x="13406" y="1542"/>
                    </a:lnTo>
                    <a:lnTo>
                      <a:pt x="12662" y="3085"/>
                    </a:lnTo>
                    <a:lnTo>
                      <a:pt x="11917" y="3857"/>
                    </a:lnTo>
                    <a:lnTo>
                      <a:pt x="5958" y="771"/>
                    </a:lnTo>
                    <a:lnTo>
                      <a:pt x="3724" y="771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1" name="AutoShape 214"/>
              <p:cNvSpPr>
                <a:spLocks/>
              </p:cNvSpPr>
              <p:nvPr/>
            </p:nvSpPr>
            <p:spPr bwMode="auto">
              <a:xfrm>
                <a:off x="504911" y="181"/>
                <a:ext cx="77787" cy="5711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617" y="17600"/>
                    </a:moveTo>
                    <a:lnTo>
                      <a:pt x="11725" y="10400"/>
                    </a:lnTo>
                    <a:lnTo>
                      <a:pt x="12342" y="8800"/>
                    </a:lnTo>
                    <a:lnTo>
                      <a:pt x="16045" y="3999"/>
                    </a:lnTo>
                    <a:lnTo>
                      <a:pt x="16662" y="1599"/>
                    </a:lnTo>
                    <a:lnTo>
                      <a:pt x="16662" y="0"/>
                    </a:lnTo>
                    <a:lnTo>
                      <a:pt x="19748" y="0"/>
                    </a:lnTo>
                    <a:lnTo>
                      <a:pt x="21599" y="3199"/>
                    </a:lnTo>
                    <a:lnTo>
                      <a:pt x="20982" y="4799"/>
                    </a:lnTo>
                    <a:lnTo>
                      <a:pt x="19748" y="8800"/>
                    </a:lnTo>
                    <a:lnTo>
                      <a:pt x="17280" y="12800"/>
                    </a:lnTo>
                    <a:lnTo>
                      <a:pt x="14194" y="16800"/>
                    </a:lnTo>
                    <a:lnTo>
                      <a:pt x="8640" y="20000"/>
                    </a:lnTo>
                    <a:lnTo>
                      <a:pt x="4937" y="21600"/>
                    </a:lnTo>
                    <a:lnTo>
                      <a:pt x="1851" y="21600"/>
                    </a:lnTo>
                    <a:lnTo>
                      <a:pt x="1234" y="20800"/>
                    </a:lnTo>
                    <a:lnTo>
                      <a:pt x="617" y="20800"/>
                    </a:lnTo>
                    <a:lnTo>
                      <a:pt x="0" y="20000"/>
                    </a:lnTo>
                    <a:lnTo>
                      <a:pt x="0" y="19200"/>
                    </a:lnTo>
                    <a:lnTo>
                      <a:pt x="617" y="1760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2" name="AutoShape 215"/>
              <p:cNvSpPr>
                <a:spLocks/>
              </p:cNvSpPr>
              <p:nvPr/>
            </p:nvSpPr>
            <p:spPr bwMode="auto">
              <a:xfrm>
                <a:off x="760499" y="595167"/>
                <a:ext cx="84138" cy="11423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918" y="0"/>
                    </a:moveTo>
                    <a:lnTo>
                      <a:pt x="2335" y="0"/>
                    </a:lnTo>
                    <a:lnTo>
                      <a:pt x="1751" y="392"/>
                    </a:lnTo>
                    <a:lnTo>
                      <a:pt x="583" y="392"/>
                    </a:lnTo>
                    <a:lnTo>
                      <a:pt x="583" y="785"/>
                    </a:lnTo>
                    <a:lnTo>
                      <a:pt x="0" y="1570"/>
                    </a:lnTo>
                    <a:lnTo>
                      <a:pt x="1167" y="3141"/>
                    </a:lnTo>
                    <a:lnTo>
                      <a:pt x="2335" y="3927"/>
                    </a:lnTo>
                    <a:lnTo>
                      <a:pt x="2918" y="5105"/>
                    </a:lnTo>
                    <a:lnTo>
                      <a:pt x="4086" y="5890"/>
                    </a:lnTo>
                    <a:lnTo>
                      <a:pt x="4670" y="6676"/>
                    </a:lnTo>
                    <a:lnTo>
                      <a:pt x="6421" y="7854"/>
                    </a:lnTo>
                    <a:lnTo>
                      <a:pt x="6421" y="10603"/>
                    </a:lnTo>
                    <a:lnTo>
                      <a:pt x="5254" y="14530"/>
                    </a:lnTo>
                    <a:lnTo>
                      <a:pt x="5254" y="15709"/>
                    </a:lnTo>
                    <a:lnTo>
                      <a:pt x="6421" y="16494"/>
                    </a:lnTo>
                    <a:lnTo>
                      <a:pt x="7005" y="17280"/>
                    </a:lnTo>
                    <a:lnTo>
                      <a:pt x="8172" y="18065"/>
                    </a:lnTo>
                    <a:lnTo>
                      <a:pt x="8756" y="18850"/>
                    </a:lnTo>
                    <a:lnTo>
                      <a:pt x="9340" y="20029"/>
                    </a:lnTo>
                    <a:lnTo>
                      <a:pt x="10508" y="21599"/>
                    </a:lnTo>
                    <a:lnTo>
                      <a:pt x="11091" y="21599"/>
                    </a:lnTo>
                    <a:lnTo>
                      <a:pt x="11091" y="20814"/>
                    </a:lnTo>
                    <a:lnTo>
                      <a:pt x="11675" y="20029"/>
                    </a:lnTo>
                    <a:lnTo>
                      <a:pt x="12843" y="18850"/>
                    </a:lnTo>
                    <a:lnTo>
                      <a:pt x="13427" y="17672"/>
                    </a:lnTo>
                    <a:lnTo>
                      <a:pt x="16345" y="15709"/>
                    </a:lnTo>
                    <a:lnTo>
                      <a:pt x="17513" y="15316"/>
                    </a:lnTo>
                    <a:lnTo>
                      <a:pt x="18681" y="14530"/>
                    </a:lnTo>
                    <a:lnTo>
                      <a:pt x="19264" y="13352"/>
                    </a:lnTo>
                    <a:lnTo>
                      <a:pt x="19848" y="12567"/>
                    </a:lnTo>
                    <a:lnTo>
                      <a:pt x="20432" y="11389"/>
                    </a:lnTo>
                    <a:lnTo>
                      <a:pt x="21016" y="10603"/>
                    </a:lnTo>
                    <a:lnTo>
                      <a:pt x="21016" y="9818"/>
                    </a:lnTo>
                    <a:lnTo>
                      <a:pt x="21600" y="9818"/>
                    </a:lnTo>
                    <a:lnTo>
                      <a:pt x="19848" y="9818"/>
                    </a:lnTo>
                    <a:lnTo>
                      <a:pt x="18681" y="10210"/>
                    </a:lnTo>
                    <a:lnTo>
                      <a:pt x="15762" y="10210"/>
                    </a:lnTo>
                    <a:lnTo>
                      <a:pt x="14010" y="9818"/>
                    </a:lnTo>
                    <a:lnTo>
                      <a:pt x="11091" y="7854"/>
                    </a:lnTo>
                    <a:lnTo>
                      <a:pt x="9924" y="6283"/>
                    </a:lnTo>
                    <a:lnTo>
                      <a:pt x="9340" y="5890"/>
                    </a:lnTo>
                    <a:lnTo>
                      <a:pt x="9340" y="5498"/>
                    </a:lnTo>
                    <a:lnTo>
                      <a:pt x="5254" y="1963"/>
                    </a:lnTo>
                    <a:lnTo>
                      <a:pt x="5254" y="1178"/>
                    </a:lnTo>
                    <a:lnTo>
                      <a:pt x="4670" y="392"/>
                    </a:lnTo>
                    <a:lnTo>
                      <a:pt x="3502" y="392"/>
                    </a:lnTo>
                    <a:lnTo>
                      <a:pt x="2918" y="0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3" name="AutoShape 216"/>
              <p:cNvSpPr>
                <a:spLocks/>
              </p:cNvSpPr>
              <p:nvPr/>
            </p:nvSpPr>
            <p:spPr bwMode="auto">
              <a:xfrm>
                <a:off x="681124" y="703057"/>
                <a:ext cx="104775" cy="10947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939" y="16615"/>
                    </a:moveTo>
                    <a:lnTo>
                      <a:pt x="0" y="17446"/>
                    </a:lnTo>
                    <a:lnTo>
                      <a:pt x="0" y="19523"/>
                    </a:lnTo>
                    <a:lnTo>
                      <a:pt x="939" y="19938"/>
                    </a:lnTo>
                    <a:lnTo>
                      <a:pt x="6573" y="21600"/>
                    </a:lnTo>
                    <a:lnTo>
                      <a:pt x="8452" y="21600"/>
                    </a:lnTo>
                    <a:lnTo>
                      <a:pt x="9391" y="21184"/>
                    </a:lnTo>
                    <a:lnTo>
                      <a:pt x="11269" y="19523"/>
                    </a:lnTo>
                    <a:lnTo>
                      <a:pt x="12208" y="17861"/>
                    </a:lnTo>
                    <a:lnTo>
                      <a:pt x="12208" y="16200"/>
                    </a:lnTo>
                    <a:lnTo>
                      <a:pt x="11739" y="15369"/>
                    </a:lnTo>
                    <a:lnTo>
                      <a:pt x="12678" y="13707"/>
                    </a:lnTo>
                    <a:lnTo>
                      <a:pt x="13617" y="13292"/>
                    </a:lnTo>
                    <a:lnTo>
                      <a:pt x="14556" y="12461"/>
                    </a:lnTo>
                    <a:lnTo>
                      <a:pt x="15495" y="11215"/>
                    </a:lnTo>
                    <a:lnTo>
                      <a:pt x="16434" y="10384"/>
                    </a:lnTo>
                    <a:lnTo>
                      <a:pt x="16904" y="9553"/>
                    </a:lnTo>
                    <a:lnTo>
                      <a:pt x="17373" y="9138"/>
                    </a:lnTo>
                    <a:lnTo>
                      <a:pt x="17373" y="8723"/>
                    </a:lnTo>
                    <a:lnTo>
                      <a:pt x="18782" y="6230"/>
                    </a:lnTo>
                    <a:lnTo>
                      <a:pt x="20191" y="4984"/>
                    </a:lnTo>
                    <a:lnTo>
                      <a:pt x="21599" y="2492"/>
                    </a:lnTo>
                    <a:lnTo>
                      <a:pt x="21599" y="1661"/>
                    </a:lnTo>
                    <a:lnTo>
                      <a:pt x="21130" y="1246"/>
                    </a:lnTo>
                    <a:lnTo>
                      <a:pt x="18313" y="0"/>
                    </a:lnTo>
                    <a:lnTo>
                      <a:pt x="16434" y="0"/>
                    </a:lnTo>
                    <a:lnTo>
                      <a:pt x="15495" y="830"/>
                    </a:lnTo>
                    <a:lnTo>
                      <a:pt x="15026" y="1661"/>
                    </a:lnTo>
                    <a:lnTo>
                      <a:pt x="14086" y="2492"/>
                    </a:lnTo>
                    <a:lnTo>
                      <a:pt x="13617" y="5399"/>
                    </a:lnTo>
                    <a:lnTo>
                      <a:pt x="9860" y="7476"/>
                    </a:lnTo>
                    <a:lnTo>
                      <a:pt x="7513" y="9138"/>
                    </a:lnTo>
                    <a:lnTo>
                      <a:pt x="4695" y="12876"/>
                    </a:lnTo>
                    <a:lnTo>
                      <a:pt x="3286" y="14953"/>
                    </a:lnTo>
                    <a:lnTo>
                      <a:pt x="1878" y="14953"/>
                    </a:lnTo>
                    <a:lnTo>
                      <a:pt x="939" y="1661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4" name="AutoShape 217"/>
              <p:cNvSpPr>
                <a:spLocks/>
              </p:cNvSpPr>
              <p:nvPr/>
            </p:nvSpPr>
            <p:spPr bwMode="auto">
              <a:xfrm>
                <a:off x="85" y="165190"/>
                <a:ext cx="574676" cy="42680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275" y="7305"/>
                    </a:moveTo>
                    <a:lnTo>
                      <a:pt x="2551" y="7199"/>
                    </a:lnTo>
                    <a:lnTo>
                      <a:pt x="3911" y="6882"/>
                    </a:lnTo>
                    <a:lnTo>
                      <a:pt x="4166" y="6564"/>
                    </a:lnTo>
                    <a:lnTo>
                      <a:pt x="4251" y="6352"/>
                    </a:lnTo>
                    <a:lnTo>
                      <a:pt x="4422" y="6141"/>
                    </a:lnTo>
                    <a:lnTo>
                      <a:pt x="4677" y="5505"/>
                    </a:lnTo>
                    <a:lnTo>
                      <a:pt x="4677" y="5082"/>
                    </a:lnTo>
                    <a:lnTo>
                      <a:pt x="4847" y="4658"/>
                    </a:lnTo>
                    <a:lnTo>
                      <a:pt x="5017" y="4552"/>
                    </a:lnTo>
                    <a:lnTo>
                      <a:pt x="5442" y="4552"/>
                    </a:lnTo>
                    <a:lnTo>
                      <a:pt x="5442" y="4235"/>
                    </a:lnTo>
                    <a:lnTo>
                      <a:pt x="5527" y="4023"/>
                    </a:lnTo>
                    <a:lnTo>
                      <a:pt x="5527" y="3811"/>
                    </a:lnTo>
                    <a:lnTo>
                      <a:pt x="5697" y="3705"/>
                    </a:lnTo>
                    <a:lnTo>
                      <a:pt x="5782" y="3705"/>
                    </a:lnTo>
                    <a:lnTo>
                      <a:pt x="5952" y="3494"/>
                    </a:lnTo>
                    <a:lnTo>
                      <a:pt x="6207" y="2964"/>
                    </a:lnTo>
                    <a:lnTo>
                      <a:pt x="6633" y="2541"/>
                    </a:lnTo>
                    <a:lnTo>
                      <a:pt x="7228" y="2541"/>
                    </a:lnTo>
                    <a:lnTo>
                      <a:pt x="7313" y="2647"/>
                    </a:lnTo>
                    <a:lnTo>
                      <a:pt x="7653" y="2858"/>
                    </a:lnTo>
                    <a:lnTo>
                      <a:pt x="7738" y="2964"/>
                    </a:lnTo>
                    <a:lnTo>
                      <a:pt x="8078" y="3176"/>
                    </a:lnTo>
                    <a:lnTo>
                      <a:pt x="8333" y="3176"/>
                    </a:lnTo>
                    <a:lnTo>
                      <a:pt x="8418" y="3282"/>
                    </a:lnTo>
                    <a:lnTo>
                      <a:pt x="8418" y="3176"/>
                    </a:lnTo>
                    <a:lnTo>
                      <a:pt x="8588" y="2964"/>
                    </a:lnTo>
                    <a:lnTo>
                      <a:pt x="8588" y="2752"/>
                    </a:lnTo>
                    <a:lnTo>
                      <a:pt x="8333" y="2435"/>
                    </a:lnTo>
                    <a:lnTo>
                      <a:pt x="8333" y="2329"/>
                    </a:lnTo>
                    <a:lnTo>
                      <a:pt x="8418" y="2223"/>
                    </a:lnTo>
                    <a:lnTo>
                      <a:pt x="8588" y="2117"/>
                    </a:lnTo>
                    <a:lnTo>
                      <a:pt x="8674" y="1694"/>
                    </a:lnTo>
                    <a:lnTo>
                      <a:pt x="8588" y="1694"/>
                    </a:lnTo>
                    <a:lnTo>
                      <a:pt x="8674" y="1588"/>
                    </a:lnTo>
                    <a:lnTo>
                      <a:pt x="8674" y="1482"/>
                    </a:lnTo>
                    <a:lnTo>
                      <a:pt x="8759" y="1270"/>
                    </a:lnTo>
                    <a:lnTo>
                      <a:pt x="8844" y="1164"/>
                    </a:lnTo>
                    <a:lnTo>
                      <a:pt x="9014" y="1058"/>
                    </a:lnTo>
                    <a:lnTo>
                      <a:pt x="9694" y="1058"/>
                    </a:lnTo>
                    <a:lnTo>
                      <a:pt x="9694" y="952"/>
                    </a:lnTo>
                    <a:lnTo>
                      <a:pt x="9779" y="952"/>
                    </a:lnTo>
                    <a:lnTo>
                      <a:pt x="9864" y="847"/>
                    </a:lnTo>
                    <a:lnTo>
                      <a:pt x="9864" y="529"/>
                    </a:lnTo>
                    <a:lnTo>
                      <a:pt x="9439" y="529"/>
                    </a:lnTo>
                    <a:lnTo>
                      <a:pt x="9439" y="423"/>
                    </a:lnTo>
                    <a:lnTo>
                      <a:pt x="9524" y="317"/>
                    </a:lnTo>
                    <a:lnTo>
                      <a:pt x="9524" y="211"/>
                    </a:lnTo>
                    <a:lnTo>
                      <a:pt x="9864" y="0"/>
                    </a:lnTo>
                    <a:lnTo>
                      <a:pt x="10374" y="0"/>
                    </a:lnTo>
                    <a:lnTo>
                      <a:pt x="10459" y="105"/>
                    </a:lnTo>
                    <a:lnTo>
                      <a:pt x="10544" y="105"/>
                    </a:lnTo>
                    <a:lnTo>
                      <a:pt x="10459" y="317"/>
                    </a:lnTo>
                    <a:lnTo>
                      <a:pt x="10459" y="423"/>
                    </a:lnTo>
                    <a:lnTo>
                      <a:pt x="10374" y="423"/>
                    </a:lnTo>
                    <a:lnTo>
                      <a:pt x="10374" y="529"/>
                    </a:lnTo>
                    <a:lnTo>
                      <a:pt x="10459" y="529"/>
                    </a:lnTo>
                    <a:lnTo>
                      <a:pt x="10544" y="635"/>
                    </a:lnTo>
                    <a:lnTo>
                      <a:pt x="10714" y="635"/>
                    </a:lnTo>
                    <a:lnTo>
                      <a:pt x="10800" y="529"/>
                    </a:lnTo>
                    <a:lnTo>
                      <a:pt x="10800" y="211"/>
                    </a:lnTo>
                    <a:lnTo>
                      <a:pt x="10970" y="211"/>
                    </a:lnTo>
                    <a:lnTo>
                      <a:pt x="11140" y="317"/>
                    </a:lnTo>
                    <a:lnTo>
                      <a:pt x="11225" y="635"/>
                    </a:lnTo>
                    <a:lnTo>
                      <a:pt x="11310" y="847"/>
                    </a:lnTo>
                    <a:lnTo>
                      <a:pt x="11395" y="952"/>
                    </a:lnTo>
                    <a:lnTo>
                      <a:pt x="11395" y="1058"/>
                    </a:lnTo>
                    <a:lnTo>
                      <a:pt x="11905" y="741"/>
                    </a:lnTo>
                    <a:lnTo>
                      <a:pt x="12330" y="741"/>
                    </a:lnTo>
                    <a:lnTo>
                      <a:pt x="12670" y="952"/>
                    </a:lnTo>
                    <a:lnTo>
                      <a:pt x="12755" y="1058"/>
                    </a:lnTo>
                    <a:lnTo>
                      <a:pt x="12925" y="1482"/>
                    </a:lnTo>
                    <a:lnTo>
                      <a:pt x="12840" y="1588"/>
                    </a:lnTo>
                    <a:lnTo>
                      <a:pt x="12840" y="1694"/>
                    </a:lnTo>
                    <a:lnTo>
                      <a:pt x="12755" y="1694"/>
                    </a:lnTo>
                    <a:lnTo>
                      <a:pt x="12670" y="1799"/>
                    </a:lnTo>
                    <a:lnTo>
                      <a:pt x="12500" y="1905"/>
                    </a:lnTo>
                    <a:lnTo>
                      <a:pt x="12160" y="2752"/>
                    </a:lnTo>
                    <a:lnTo>
                      <a:pt x="12160" y="2858"/>
                    </a:lnTo>
                    <a:lnTo>
                      <a:pt x="12330" y="2964"/>
                    </a:lnTo>
                    <a:lnTo>
                      <a:pt x="12670" y="3282"/>
                    </a:lnTo>
                    <a:lnTo>
                      <a:pt x="13096" y="3705"/>
                    </a:lnTo>
                    <a:lnTo>
                      <a:pt x="13521" y="4023"/>
                    </a:lnTo>
                    <a:lnTo>
                      <a:pt x="13861" y="4341"/>
                    </a:lnTo>
                    <a:lnTo>
                      <a:pt x="14031" y="4341"/>
                    </a:lnTo>
                    <a:lnTo>
                      <a:pt x="14031" y="4447"/>
                    </a:lnTo>
                    <a:lnTo>
                      <a:pt x="14286" y="4447"/>
                    </a:lnTo>
                    <a:lnTo>
                      <a:pt x="14456" y="4341"/>
                    </a:lnTo>
                    <a:lnTo>
                      <a:pt x="14626" y="4129"/>
                    </a:lnTo>
                    <a:lnTo>
                      <a:pt x="14796" y="3705"/>
                    </a:lnTo>
                    <a:lnTo>
                      <a:pt x="14966" y="3070"/>
                    </a:lnTo>
                    <a:lnTo>
                      <a:pt x="15051" y="2541"/>
                    </a:lnTo>
                    <a:lnTo>
                      <a:pt x="15137" y="2223"/>
                    </a:lnTo>
                    <a:lnTo>
                      <a:pt x="15222" y="635"/>
                    </a:lnTo>
                    <a:lnTo>
                      <a:pt x="15222" y="211"/>
                    </a:lnTo>
                    <a:lnTo>
                      <a:pt x="15307" y="105"/>
                    </a:lnTo>
                    <a:lnTo>
                      <a:pt x="15307" y="0"/>
                    </a:lnTo>
                    <a:lnTo>
                      <a:pt x="15647" y="0"/>
                    </a:lnTo>
                    <a:lnTo>
                      <a:pt x="15817" y="211"/>
                    </a:lnTo>
                    <a:lnTo>
                      <a:pt x="15987" y="317"/>
                    </a:lnTo>
                    <a:lnTo>
                      <a:pt x="15987" y="635"/>
                    </a:lnTo>
                    <a:lnTo>
                      <a:pt x="16072" y="847"/>
                    </a:lnTo>
                    <a:lnTo>
                      <a:pt x="16072" y="1270"/>
                    </a:lnTo>
                    <a:lnTo>
                      <a:pt x="15987" y="1270"/>
                    </a:lnTo>
                    <a:lnTo>
                      <a:pt x="15987" y="1905"/>
                    </a:lnTo>
                    <a:lnTo>
                      <a:pt x="16072" y="2117"/>
                    </a:lnTo>
                    <a:lnTo>
                      <a:pt x="16072" y="2223"/>
                    </a:lnTo>
                    <a:lnTo>
                      <a:pt x="16582" y="2223"/>
                    </a:lnTo>
                    <a:lnTo>
                      <a:pt x="16752" y="2435"/>
                    </a:lnTo>
                    <a:lnTo>
                      <a:pt x="16837" y="2647"/>
                    </a:lnTo>
                    <a:lnTo>
                      <a:pt x="16922" y="2964"/>
                    </a:lnTo>
                    <a:lnTo>
                      <a:pt x="17092" y="3282"/>
                    </a:lnTo>
                    <a:lnTo>
                      <a:pt x="17177" y="3494"/>
                    </a:lnTo>
                    <a:lnTo>
                      <a:pt x="17348" y="3599"/>
                    </a:lnTo>
                    <a:lnTo>
                      <a:pt x="17348" y="3705"/>
                    </a:lnTo>
                    <a:lnTo>
                      <a:pt x="17433" y="3811"/>
                    </a:lnTo>
                    <a:lnTo>
                      <a:pt x="17433" y="4023"/>
                    </a:lnTo>
                    <a:lnTo>
                      <a:pt x="17688" y="4658"/>
                    </a:lnTo>
                    <a:lnTo>
                      <a:pt x="17688" y="4870"/>
                    </a:lnTo>
                    <a:lnTo>
                      <a:pt x="17773" y="4976"/>
                    </a:lnTo>
                    <a:lnTo>
                      <a:pt x="17858" y="5188"/>
                    </a:lnTo>
                    <a:lnTo>
                      <a:pt x="18028" y="5294"/>
                    </a:lnTo>
                    <a:lnTo>
                      <a:pt x="18113" y="5505"/>
                    </a:lnTo>
                    <a:lnTo>
                      <a:pt x="18538" y="6035"/>
                    </a:lnTo>
                    <a:lnTo>
                      <a:pt x="19303" y="7199"/>
                    </a:lnTo>
                    <a:lnTo>
                      <a:pt x="19303" y="7623"/>
                    </a:lnTo>
                    <a:lnTo>
                      <a:pt x="20749" y="8999"/>
                    </a:lnTo>
                    <a:lnTo>
                      <a:pt x="20834" y="9211"/>
                    </a:lnTo>
                    <a:lnTo>
                      <a:pt x="21089" y="9635"/>
                    </a:lnTo>
                    <a:lnTo>
                      <a:pt x="21344" y="10270"/>
                    </a:lnTo>
                    <a:lnTo>
                      <a:pt x="21514" y="11117"/>
                    </a:lnTo>
                    <a:lnTo>
                      <a:pt x="21514" y="11858"/>
                    </a:lnTo>
                    <a:lnTo>
                      <a:pt x="21599" y="12705"/>
                    </a:lnTo>
                    <a:lnTo>
                      <a:pt x="21599" y="14611"/>
                    </a:lnTo>
                    <a:lnTo>
                      <a:pt x="21429" y="14823"/>
                    </a:lnTo>
                    <a:lnTo>
                      <a:pt x="21344" y="15035"/>
                    </a:lnTo>
                    <a:lnTo>
                      <a:pt x="21004" y="15458"/>
                    </a:lnTo>
                    <a:lnTo>
                      <a:pt x="20749" y="15564"/>
                    </a:lnTo>
                    <a:lnTo>
                      <a:pt x="20409" y="16517"/>
                    </a:lnTo>
                    <a:lnTo>
                      <a:pt x="20324" y="16729"/>
                    </a:lnTo>
                    <a:lnTo>
                      <a:pt x="20239" y="17047"/>
                    </a:lnTo>
                    <a:lnTo>
                      <a:pt x="20154" y="17258"/>
                    </a:lnTo>
                    <a:lnTo>
                      <a:pt x="20069" y="17576"/>
                    </a:lnTo>
                    <a:lnTo>
                      <a:pt x="19984" y="17788"/>
                    </a:lnTo>
                    <a:lnTo>
                      <a:pt x="19644" y="18000"/>
                    </a:lnTo>
                    <a:lnTo>
                      <a:pt x="19559" y="18211"/>
                    </a:lnTo>
                    <a:lnTo>
                      <a:pt x="19559" y="18635"/>
                    </a:lnTo>
                    <a:lnTo>
                      <a:pt x="19814" y="19588"/>
                    </a:lnTo>
                    <a:lnTo>
                      <a:pt x="19814" y="19905"/>
                    </a:lnTo>
                    <a:lnTo>
                      <a:pt x="19729" y="20117"/>
                    </a:lnTo>
                    <a:lnTo>
                      <a:pt x="19559" y="20329"/>
                    </a:lnTo>
                    <a:lnTo>
                      <a:pt x="18708" y="20858"/>
                    </a:lnTo>
                    <a:lnTo>
                      <a:pt x="18283" y="21282"/>
                    </a:lnTo>
                    <a:lnTo>
                      <a:pt x="17858" y="21494"/>
                    </a:lnTo>
                    <a:lnTo>
                      <a:pt x="17688" y="21600"/>
                    </a:lnTo>
                    <a:lnTo>
                      <a:pt x="17603" y="21600"/>
                    </a:lnTo>
                    <a:lnTo>
                      <a:pt x="17518" y="21494"/>
                    </a:lnTo>
                    <a:lnTo>
                      <a:pt x="17348" y="21388"/>
                    </a:lnTo>
                    <a:lnTo>
                      <a:pt x="17092" y="21176"/>
                    </a:lnTo>
                    <a:lnTo>
                      <a:pt x="16922" y="20964"/>
                    </a:lnTo>
                    <a:lnTo>
                      <a:pt x="16837" y="20752"/>
                    </a:lnTo>
                    <a:lnTo>
                      <a:pt x="16582" y="20752"/>
                    </a:lnTo>
                    <a:lnTo>
                      <a:pt x="16412" y="20858"/>
                    </a:lnTo>
                    <a:lnTo>
                      <a:pt x="16327" y="20964"/>
                    </a:lnTo>
                    <a:lnTo>
                      <a:pt x="15817" y="20964"/>
                    </a:lnTo>
                    <a:lnTo>
                      <a:pt x="15647" y="20858"/>
                    </a:lnTo>
                    <a:lnTo>
                      <a:pt x="15562" y="20858"/>
                    </a:lnTo>
                    <a:lnTo>
                      <a:pt x="15477" y="20752"/>
                    </a:lnTo>
                    <a:lnTo>
                      <a:pt x="14711" y="20752"/>
                    </a:lnTo>
                    <a:lnTo>
                      <a:pt x="14626" y="20541"/>
                    </a:lnTo>
                    <a:lnTo>
                      <a:pt x="14371" y="20117"/>
                    </a:lnTo>
                    <a:lnTo>
                      <a:pt x="14201" y="19376"/>
                    </a:lnTo>
                    <a:lnTo>
                      <a:pt x="14031" y="18741"/>
                    </a:lnTo>
                    <a:lnTo>
                      <a:pt x="13521" y="17682"/>
                    </a:lnTo>
                    <a:lnTo>
                      <a:pt x="12415" y="17576"/>
                    </a:lnTo>
                    <a:lnTo>
                      <a:pt x="11650" y="16835"/>
                    </a:lnTo>
                    <a:lnTo>
                      <a:pt x="11310" y="16411"/>
                    </a:lnTo>
                    <a:lnTo>
                      <a:pt x="10885" y="16094"/>
                    </a:lnTo>
                    <a:lnTo>
                      <a:pt x="10204" y="15670"/>
                    </a:lnTo>
                    <a:lnTo>
                      <a:pt x="9354" y="15458"/>
                    </a:lnTo>
                    <a:lnTo>
                      <a:pt x="9099" y="15564"/>
                    </a:lnTo>
                    <a:lnTo>
                      <a:pt x="8674" y="15670"/>
                    </a:lnTo>
                    <a:lnTo>
                      <a:pt x="8078" y="15882"/>
                    </a:lnTo>
                    <a:lnTo>
                      <a:pt x="7568" y="16094"/>
                    </a:lnTo>
                    <a:lnTo>
                      <a:pt x="6122" y="17152"/>
                    </a:lnTo>
                    <a:lnTo>
                      <a:pt x="5782" y="17152"/>
                    </a:lnTo>
                    <a:lnTo>
                      <a:pt x="5697" y="17258"/>
                    </a:lnTo>
                    <a:lnTo>
                      <a:pt x="5697" y="17364"/>
                    </a:lnTo>
                    <a:lnTo>
                      <a:pt x="5612" y="17576"/>
                    </a:lnTo>
                    <a:lnTo>
                      <a:pt x="5527" y="17682"/>
                    </a:lnTo>
                    <a:lnTo>
                      <a:pt x="5442" y="17894"/>
                    </a:lnTo>
                    <a:lnTo>
                      <a:pt x="5272" y="18000"/>
                    </a:lnTo>
                    <a:lnTo>
                      <a:pt x="4507" y="18000"/>
                    </a:lnTo>
                    <a:lnTo>
                      <a:pt x="4422" y="17894"/>
                    </a:lnTo>
                    <a:lnTo>
                      <a:pt x="3316" y="17894"/>
                    </a:lnTo>
                    <a:lnTo>
                      <a:pt x="3146" y="18105"/>
                    </a:lnTo>
                    <a:lnTo>
                      <a:pt x="2976" y="18211"/>
                    </a:lnTo>
                    <a:lnTo>
                      <a:pt x="2891" y="18317"/>
                    </a:lnTo>
                    <a:lnTo>
                      <a:pt x="2721" y="18635"/>
                    </a:lnTo>
                    <a:lnTo>
                      <a:pt x="1700" y="18635"/>
                    </a:lnTo>
                    <a:lnTo>
                      <a:pt x="1530" y="18529"/>
                    </a:lnTo>
                    <a:lnTo>
                      <a:pt x="1445" y="18529"/>
                    </a:lnTo>
                    <a:lnTo>
                      <a:pt x="1360" y="18423"/>
                    </a:lnTo>
                    <a:lnTo>
                      <a:pt x="1360" y="18105"/>
                    </a:lnTo>
                    <a:lnTo>
                      <a:pt x="1275" y="18000"/>
                    </a:lnTo>
                    <a:lnTo>
                      <a:pt x="1275" y="18105"/>
                    </a:lnTo>
                    <a:lnTo>
                      <a:pt x="1190" y="18105"/>
                    </a:lnTo>
                    <a:lnTo>
                      <a:pt x="1105" y="18211"/>
                    </a:lnTo>
                    <a:lnTo>
                      <a:pt x="935" y="18211"/>
                    </a:lnTo>
                    <a:lnTo>
                      <a:pt x="850" y="18105"/>
                    </a:lnTo>
                    <a:lnTo>
                      <a:pt x="765" y="18105"/>
                    </a:lnTo>
                    <a:lnTo>
                      <a:pt x="680" y="17894"/>
                    </a:lnTo>
                    <a:lnTo>
                      <a:pt x="680" y="17576"/>
                    </a:lnTo>
                    <a:lnTo>
                      <a:pt x="850" y="17470"/>
                    </a:lnTo>
                    <a:lnTo>
                      <a:pt x="1105" y="17258"/>
                    </a:lnTo>
                    <a:lnTo>
                      <a:pt x="1275" y="15882"/>
                    </a:lnTo>
                    <a:lnTo>
                      <a:pt x="1190" y="15670"/>
                    </a:lnTo>
                    <a:lnTo>
                      <a:pt x="1190" y="15458"/>
                    </a:lnTo>
                    <a:lnTo>
                      <a:pt x="935" y="14823"/>
                    </a:lnTo>
                    <a:lnTo>
                      <a:pt x="935" y="14717"/>
                    </a:lnTo>
                    <a:lnTo>
                      <a:pt x="765" y="14400"/>
                    </a:lnTo>
                    <a:lnTo>
                      <a:pt x="510" y="13658"/>
                    </a:lnTo>
                    <a:lnTo>
                      <a:pt x="340" y="12811"/>
                    </a:lnTo>
                    <a:lnTo>
                      <a:pt x="170" y="12070"/>
                    </a:lnTo>
                    <a:lnTo>
                      <a:pt x="170" y="11541"/>
                    </a:lnTo>
                    <a:lnTo>
                      <a:pt x="340" y="11329"/>
                    </a:lnTo>
                    <a:lnTo>
                      <a:pt x="340" y="10694"/>
                    </a:lnTo>
                    <a:lnTo>
                      <a:pt x="255" y="10376"/>
                    </a:lnTo>
                    <a:lnTo>
                      <a:pt x="170" y="10270"/>
                    </a:lnTo>
                    <a:lnTo>
                      <a:pt x="85" y="9952"/>
                    </a:lnTo>
                    <a:lnTo>
                      <a:pt x="0" y="9423"/>
                    </a:lnTo>
                    <a:lnTo>
                      <a:pt x="0" y="8894"/>
                    </a:lnTo>
                    <a:lnTo>
                      <a:pt x="170" y="8470"/>
                    </a:lnTo>
                    <a:lnTo>
                      <a:pt x="340" y="8364"/>
                    </a:lnTo>
                    <a:lnTo>
                      <a:pt x="680" y="7941"/>
                    </a:lnTo>
                    <a:lnTo>
                      <a:pt x="850" y="7835"/>
                    </a:lnTo>
                    <a:lnTo>
                      <a:pt x="1275" y="7305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  <p:sp>
            <p:nvSpPr>
              <p:cNvPr id="15" name="AutoShape 218"/>
              <p:cNvSpPr>
                <a:spLocks/>
              </p:cNvSpPr>
              <p:nvPr/>
            </p:nvSpPr>
            <p:spPr bwMode="auto">
              <a:xfrm>
                <a:off x="393786" y="8115"/>
                <a:ext cx="144462" cy="11423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3162" y="7999"/>
                    </a:moveTo>
                    <a:lnTo>
                      <a:pt x="13162" y="7600"/>
                    </a:lnTo>
                    <a:lnTo>
                      <a:pt x="12825" y="7199"/>
                    </a:lnTo>
                    <a:lnTo>
                      <a:pt x="12149" y="7199"/>
                    </a:lnTo>
                    <a:lnTo>
                      <a:pt x="11475" y="6400"/>
                    </a:lnTo>
                    <a:lnTo>
                      <a:pt x="10462" y="5600"/>
                    </a:lnTo>
                    <a:lnTo>
                      <a:pt x="9787" y="4799"/>
                    </a:lnTo>
                    <a:lnTo>
                      <a:pt x="7762" y="3199"/>
                    </a:lnTo>
                    <a:lnTo>
                      <a:pt x="6749" y="1999"/>
                    </a:lnTo>
                    <a:lnTo>
                      <a:pt x="5737" y="1999"/>
                    </a:lnTo>
                    <a:lnTo>
                      <a:pt x="4387" y="1599"/>
                    </a:lnTo>
                    <a:lnTo>
                      <a:pt x="2362" y="799"/>
                    </a:lnTo>
                    <a:lnTo>
                      <a:pt x="674" y="0"/>
                    </a:lnTo>
                    <a:lnTo>
                      <a:pt x="0" y="16000"/>
                    </a:lnTo>
                    <a:lnTo>
                      <a:pt x="2024" y="17200"/>
                    </a:lnTo>
                    <a:lnTo>
                      <a:pt x="4724" y="16000"/>
                    </a:lnTo>
                    <a:lnTo>
                      <a:pt x="4724" y="15200"/>
                    </a:lnTo>
                    <a:lnTo>
                      <a:pt x="5062" y="14800"/>
                    </a:lnTo>
                    <a:lnTo>
                      <a:pt x="5737" y="14400"/>
                    </a:lnTo>
                    <a:lnTo>
                      <a:pt x="6412" y="13600"/>
                    </a:lnTo>
                    <a:lnTo>
                      <a:pt x="7087" y="13600"/>
                    </a:lnTo>
                    <a:lnTo>
                      <a:pt x="7762" y="13200"/>
                    </a:lnTo>
                    <a:lnTo>
                      <a:pt x="8774" y="13600"/>
                    </a:lnTo>
                    <a:lnTo>
                      <a:pt x="12825" y="16400"/>
                    </a:lnTo>
                    <a:lnTo>
                      <a:pt x="14512" y="18800"/>
                    </a:lnTo>
                    <a:lnTo>
                      <a:pt x="17550" y="20400"/>
                    </a:lnTo>
                    <a:lnTo>
                      <a:pt x="21262" y="21600"/>
                    </a:lnTo>
                    <a:lnTo>
                      <a:pt x="21600" y="21600"/>
                    </a:lnTo>
                    <a:lnTo>
                      <a:pt x="21600" y="20000"/>
                    </a:lnTo>
                    <a:lnTo>
                      <a:pt x="21262" y="19600"/>
                    </a:lnTo>
                    <a:lnTo>
                      <a:pt x="20925" y="18800"/>
                    </a:lnTo>
                    <a:lnTo>
                      <a:pt x="20249" y="18400"/>
                    </a:lnTo>
                    <a:lnTo>
                      <a:pt x="19575" y="17600"/>
                    </a:lnTo>
                    <a:lnTo>
                      <a:pt x="18562" y="16800"/>
                    </a:lnTo>
                    <a:lnTo>
                      <a:pt x="16199" y="14000"/>
                    </a:lnTo>
                    <a:lnTo>
                      <a:pt x="13500" y="12000"/>
                    </a:lnTo>
                    <a:lnTo>
                      <a:pt x="16199" y="10800"/>
                    </a:lnTo>
                    <a:lnTo>
                      <a:pt x="15525" y="9200"/>
                    </a:lnTo>
                    <a:lnTo>
                      <a:pt x="15187" y="9200"/>
                    </a:lnTo>
                    <a:lnTo>
                      <a:pt x="14850" y="8800"/>
                    </a:lnTo>
                    <a:lnTo>
                      <a:pt x="14174" y="8800"/>
                    </a:lnTo>
                    <a:lnTo>
                      <a:pt x="13500" y="8400"/>
                    </a:lnTo>
                    <a:lnTo>
                      <a:pt x="13162" y="8400"/>
                    </a:lnTo>
                    <a:lnTo>
                      <a:pt x="13162" y="7999"/>
                    </a:lnTo>
                    <a:close/>
                  </a:path>
                </a:pathLst>
              </a:custGeom>
              <a:grpFill/>
              <a:ln w="3175" cap="flat" cmpd="sng">
                <a:noFill/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eaLnBrk="1">
                  <a:defRPr/>
                </a:pPr>
                <a:endParaRPr lang="en-GB">
                  <a:cs typeface="Calibri" charset="0"/>
                </a:endParaRPr>
              </a:p>
            </p:txBody>
          </p:sp>
        </p:grpSp>
      </p:grpSp>
      <p:grpSp>
        <p:nvGrpSpPr>
          <p:cNvPr id="210" name="Group 209"/>
          <p:cNvGrpSpPr/>
          <p:nvPr userDrawn="1"/>
        </p:nvGrpSpPr>
        <p:grpSpPr>
          <a:xfrm>
            <a:off x="8421687" y="144462"/>
            <a:ext cx="3789363" cy="3829051"/>
            <a:chOff x="8329613" y="-7938"/>
            <a:chExt cx="3789363" cy="3829051"/>
          </a:xfrm>
        </p:grpSpPr>
        <p:sp>
          <p:nvSpPr>
            <p:cNvPr id="211" name="Freeform 5"/>
            <p:cNvSpPr>
              <a:spLocks noEditPoints="1"/>
            </p:cNvSpPr>
            <p:nvPr/>
          </p:nvSpPr>
          <p:spPr bwMode="auto">
            <a:xfrm>
              <a:off x="8329613" y="-7938"/>
              <a:ext cx="2243138" cy="2290763"/>
            </a:xfrm>
            <a:custGeom>
              <a:avLst/>
              <a:gdLst>
                <a:gd name="T0" fmla="*/ 244 w 2210"/>
                <a:gd name="T1" fmla="*/ 1347 h 2209"/>
                <a:gd name="T2" fmla="*/ 326 w 2210"/>
                <a:gd name="T3" fmla="*/ 1540 h 2209"/>
                <a:gd name="T4" fmla="*/ 228 w 2210"/>
                <a:gd name="T5" fmla="*/ 1663 h 2209"/>
                <a:gd name="T6" fmla="*/ 235 w 2210"/>
                <a:gd name="T7" fmla="*/ 1798 h 2209"/>
                <a:gd name="T8" fmla="*/ 404 w 2210"/>
                <a:gd name="T9" fmla="*/ 1966 h 2209"/>
                <a:gd name="T10" fmla="*/ 538 w 2210"/>
                <a:gd name="T11" fmla="*/ 1974 h 2209"/>
                <a:gd name="T12" fmla="*/ 661 w 2210"/>
                <a:gd name="T13" fmla="*/ 1877 h 2209"/>
                <a:gd name="T14" fmla="*/ 862 w 2210"/>
                <a:gd name="T15" fmla="*/ 1962 h 2209"/>
                <a:gd name="T16" fmla="*/ 880 w 2210"/>
                <a:gd name="T17" fmla="*/ 2120 h 2209"/>
                <a:gd name="T18" fmla="*/ 980 w 2210"/>
                <a:gd name="T19" fmla="*/ 2209 h 2209"/>
                <a:gd name="T20" fmla="*/ 1219 w 2210"/>
                <a:gd name="T21" fmla="*/ 2209 h 2209"/>
                <a:gd name="T22" fmla="*/ 1320 w 2210"/>
                <a:gd name="T23" fmla="*/ 2120 h 2209"/>
                <a:gd name="T24" fmla="*/ 1337 w 2210"/>
                <a:gd name="T25" fmla="*/ 1967 h 2209"/>
                <a:gd name="T26" fmla="*/ 1552 w 2210"/>
                <a:gd name="T27" fmla="*/ 1880 h 2209"/>
                <a:gd name="T28" fmla="*/ 1671 w 2210"/>
                <a:gd name="T29" fmla="*/ 1974 h 2209"/>
                <a:gd name="T30" fmla="*/ 1805 w 2210"/>
                <a:gd name="T31" fmla="*/ 1967 h 2209"/>
                <a:gd name="T32" fmla="*/ 1974 w 2210"/>
                <a:gd name="T33" fmla="*/ 1798 h 2209"/>
                <a:gd name="T34" fmla="*/ 1982 w 2210"/>
                <a:gd name="T35" fmla="*/ 1664 h 2209"/>
                <a:gd name="T36" fmla="*/ 1889 w 2210"/>
                <a:gd name="T37" fmla="*/ 1546 h 2209"/>
                <a:gd name="T38" fmla="*/ 1978 w 2210"/>
                <a:gd name="T39" fmla="*/ 1335 h 2209"/>
                <a:gd name="T40" fmla="*/ 2120 w 2210"/>
                <a:gd name="T41" fmla="*/ 1319 h 2209"/>
                <a:gd name="T42" fmla="*/ 2210 w 2210"/>
                <a:gd name="T43" fmla="*/ 1218 h 2209"/>
                <a:gd name="T44" fmla="*/ 2210 w 2210"/>
                <a:gd name="T45" fmla="*/ 980 h 2209"/>
                <a:gd name="T46" fmla="*/ 2120 w 2210"/>
                <a:gd name="T47" fmla="*/ 879 h 2209"/>
                <a:gd name="T48" fmla="*/ 1980 w 2210"/>
                <a:gd name="T49" fmla="*/ 863 h 2209"/>
                <a:gd name="T50" fmla="*/ 1895 w 2210"/>
                <a:gd name="T51" fmla="*/ 654 h 2209"/>
                <a:gd name="T52" fmla="*/ 1981 w 2210"/>
                <a:gd name="T53" fmla="*/ 545 h 2209"/>
                <a:gd name="T54" fmla="*/ 1974 w 2210"/>
                <a:gd name="T55" fmla="*/ 410 h 2209"/>
                <a:gd name="T56" fmla="*/ 1805 w 2210"/>
                <a:gd name="T57" fmla="*/ 242 h 2209"/>
                <a:gd name="T58" fmla="*/ 1671 w 2210"/>
                <a:gd name="T59" fmla="*/ 234 h 2209"/>
                <a:gd name="T60" fmla="*/ 1565 w 2210"/>
                <a:gd name="T61" fmla="*/ 318 h 2209"/>
                <a:gd name="T62" fmla="*/ 1345 w 2210"/>
                <a:gd name="T63" fmla="*/ 226 h 2209"/>
                <a:gd name="T64" fmla="*/ 1329 w 2210"/>
                <a:gd name="T65" fmla="*/ 89 h 2209"/>
                <a:gd name="T66" fmla="*/ 1229 w 2210"/>
                <a:gd name="T67" fmla="*/ 0 h 2209"/>
                <a:gd name="T68" fmla="*/ 990 w 2210"/>
                <a:gd name="T69" fmla="*/ 0 h 2209"/>
                <a:gd name="T70" fmla="*/ 890 w 2210"/>
                <a:gd name="T71" fmla="*/ 89 h 2209"/>
                <a:gd name="T72" fmla="*/ 874 w 2210"/>
                <a:gd name="T73" fmla="*/ 226 h 2209"/>
                <a:gd name="T74" fmla="*/ 648 w 2210"/>
                <a:gd name="T75" fmla="*/ 322 h 2209"/>
                <a:gd name="T76" fmla="*/ 538 w 2210"/>
                <a:gd name="T77" fmla="*/ 234 h 2209"/>
                <a:gd name="T78" fmla="*/ 404 w 2210"/>
                <a:gd name="T79" fmla="*/ 242 h 2209"/>
                <a:gd name="T80" fmla="*/ 235 w 2210"/>
                <a:gd name="T81" fmla="*/ 411 h 2209"/>
                <a:gd name="T82" fmla="*/ 228 w 2210"/>
                <a:gd name="T83" fmla="*/ 545 h 2209"/>
                <a:gd name="T84" fmla="*/ 320 w 2210"/>
                <a:gd name="T85" fmla="*/ 662 h 2209"/>
                <a:gd name="T86" fmla="*/ 236 w 2210"/>
                <a:gd name="T87" fmla="*/ 872 h 2209"/>
                <a:gd name="T88" fmla="*/ 89 w 2210"/>
                <a:gd name="T89" fmla="*/ 889 h 2209"/>
                <a:gd name="T90" fmla="*/ 0 w 2210"/>
                <a:gd name="T91" fmla="*/ 990 h 2209"/>
                <a:gd name="T92" fmla="*/ 0 w 2210"/>
                <a:gd name="T93" fmla="*/ 1228 h 2209"/>
                <a:gd name="T94" fmla="*/ 89 w 2210"/>
                <a:gd name="T95" fmla="*/ 1329 h 2209"/>
                <a:gd name="T96" fmla="*/ 244 w 2210"/>
                <a:gd name="T97" fmla="*/ 1347 h 2209"/>
                <a:gd name="T98" fmla="*/ 1110 w 2210"/>
                <a:gd name="T99" fmla="*/ 701 h 2209"/>
                <a:gd name="T100" fmla="*/ 1504 w 2210"/>
                <a:gd name="T101" fmla="*/ 1096 h 2209"/>
                <a:gd name="T102" fmla="*/ 1110 w 2210"/>
                <a:gd name="T103" fmla="*/ 1490 h 2209"/>
                <a:gd name="T104" fmla="*/ 715 w 2210"/>
                <a:gd name="T105" fmla="*/ 1096 h 2209"/>
                <a:gd name="T106" fmla="*/ 1110 w 2210"/>
                <a:gd name="T107" fmla="*/ 701 h 2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0" h="2209">
                  <a:moveTo>
                    <a:pt x="244" y="1347"/>
                  </a:moveTo>
                  <a:cubicBezTo>
                    <a:pt x="264" y="1414"/>
                    <a:pt x="291" y="1479"/>
                    <a:pt x="326" y="1540"/>
                  </a:cubicBezTo>
                  <a:cubicBezTo>
                    <a:pt x="228" y="1663"/>
                    <a:pt x="228" y="1663"/>
                    <a:pt x="228" y="1663"/>
                  </a:cubicBezTo>
                  <a:cubicBezTo>
                    <a:pt x="196" y="1704"/>
                    <a:pt x="199" y="1761"/>
                    <a:pt x="235" y="1798"/>
                  </a:cubicBezTo>
                  <a:cubicBezTo>
                    <a:pt x="404" y="1966"/>
                    <a:pt x="404" y="1966"/>
                    <a:pt x="404" y="1966"/>
                  </a:cubicBezTo>
                  <a:cubicBezTo>
                    <a:pt x="440" y="2003"/>
                    <a:pt x="498" y="2006"/>
                    <a:pt x="538" y="1974"/>
                  </a:cubicBezTo>
                  <a:cubicBezTo>
                    <a:pt x="661" y="1877"/>
                    <a:pt x="661" y="1877"/>
                    <a:pt x="661" y="1877"/>
                  </a:cubicBezTo>
                  <a:cubicBezTo>
                    <a:pt x="724" y="1913"/>
                    <a:pt x="792" y="1942"/>
                    <a:pt x="862" y="1962"/>
                  </a:cubicBezTo>
                  <a:cubicBezTo>
                    <a:pt x="880" y="2120"/>
                    <a:pt x="880" y="2120"/>
                    <a:pt x="880" y="2120"/>
                  </a:cubicBezTo>
                  <a:cubicBezTo>
                    <a:pt x="886" y="2171"/>
                    <a:pt x="929" y="2209"/>
                    <a:pt x="980" y="2209"/>
                  </a:cubicBezTo>
                  <a:cubicBezTo>
                    <a:pt x="1219" y="2209"/>
                    <a:pt x="1219" y="2209"/>
                    <a:pt x="1219" y="2209"/>
                  </a:cubicBezTo>
                  <a:cubicBezTo>
                    <a:pt x="1270" y="2209"/>
                    <a:pt x="1314" y="2171"/>
                    <a:pt x="1320" y="2120"/>
                  </a:cubicBezTo>
                  <a:cubicBezTo>
                    <a:pt x="1337" y="1967"/>
                    <a:pt x="1337" y="1967"/>
                    <a:pt x="1337" y="1967"/>
                  </a:cubicBezTo>
                  <a:cubicBezTo>
                    <a:pt x="1412" y="1948"/>
                    <a:pt x="1484" y="1918"/>
                    <a:pt x="1552" y="1880"/>
                  </a:cubicBezTo>
                  <a:cubicBezTo>
                    <a:pt x="1671" y="1974"/>
                    <a:pt x="1671" y="1974"/>
                    <a:pt x="1671" y="1974"/>
                  </a:cubicBezTo>
                  <a:cubicBezTo>
                    <a:pt x="1711" y="2006"/>
                    <a:pt x="1769" y="2003"/>
                    <a:pt x="1805" y="1967"/>
                  </a:cubicBezTo>
                  <a:cubicBezTo>
                    <a:pt x="1974" y="1798"/>
                    <a:pt x="1974" y="1798"/>
                    <a:pt x="1974" y="1798"/>
                  </a:cubicBezTo>
                  <a:cubicBezTo>
                    <a:pt x="2010" y="1762"/>
                    <a:pt x="2014" y="1704"/>
                    <a:pt x="1982" y="1664"/>
                  </a:cubicBezTo>
                  <a:cubicBezTo>
                    <a:pt x="1889" y="1546"/>
                    <a:pt x="1889" y="1546"/>
                    <a:pt x="1889" y="1546"/>
                  </a:cubicBezTo>
                  <a:cubicBezTo>
                    <a:pt x="1928" y="1480"/>
                    <a:pt x="1958" y="1409"/>
                    <a:pt x="1978" y="1335"/>
                  </a:cubicBezTo>
                  <a:cubicBezTo>
                    <a:pt x="2120" y="1319"/>
                    <a:pt x="2120" y="1319"/>
                    <a:pt x="2120" y="1319"/>
                  </a:cubicBezTo>
                  <a:cubicBezTo>
                    <a:pt x="2171" y="1313"/>
                    <a:pt x="2210" y="1270"/>
                    <a:pt x="2210" y="1218"/>
                  </a:cubicBezTo>
                  <a:cubicBezTo>
                    <a:pt x="2210" y="980"/>
                    <a:pt x="2210" y="980"/>
                    <a:pt x="2210" y="980"/>
                  </a:cubicBezTo>
                  <a:cubicBezTo>
                    <a:pt x="2210" y="928"/>
                    <a:pt x="2171" y="885"/>
                    <a:pt x="2120" y="879"/>
                  </a:cubicBezTo>
                  <a:cubicBezTo>
                    <a:pt x="1980" y="863"/>
                    <a:pt x="1980" y="863"/>
                    <a:pt x="1980" y="863"/>
                  </a:cubicBezTo>
                  <a:cubicBezTo>
                    <a:pt x="1960" y="790"/>
                    <a:pt x="1932" y="720"/>
                    <a:pt x="1895" y="654"/>
                  </a:cubicBezTo>
                  <a:cubicBezTo>
                    <a:pt x="1981" y="545"/>
                    <a:pt x="1981" y="545"/>
                    <a:pt x="1981" y="545"/>
                  </a:cubicBezTo>
                  <a:cubicBezTo>
                    <a:pt x="2013" y="504"/>
                    <a:pt x="2010" y="447"/>
                    <a:pt x="1974" y="410"/>
                  </a:cubicBezTo>
                  <a:cubicBezTo>
                    <a:pt x="1805" y="242"/>
                    <a:pt x="1805" y="242"/>
                    <a:pt x="1805" y="242"/>
                  </a:cubicBezTo>
                  <a:cubicBezTo>
                    <a:pt x="1769" y="206"/>
                    <a:pt x="1711" y="202"/>
                    <a:pt x="1671" y="234"/>
                  </a:cubicBezTo>
                  <a:cubicBezTo>
                    <a:pt x="1565" y="318"/>
                    <a:pt x="1565" y="318"/>
                    <a:pt x="1565" y="318"/>
                  </a:cubicBezTo>
                  <a:cubicBezTo>
                    <a:pt x="1496" y="278"/>
                    <a:pt x="1422" y="247"/>
                    <a:pt x="1345" y="226"/>
                  </a:cubicBezTo>
                  <a:cubicBezTo>
                    <a:pt x="1329" y="89"/>
                    <a:pt x="1329" y="89"/>
                    <a:pt x="1329" y="89"/>
                  </a:cubicBezTo>
                  <a:cubicBezTo>
                    <a:pt x="1323" y="38"/>
                    <a:pt x="1280" y="0"/>
                    <a:pt x="1229" y="0"/>
                  </a:cubicBezTo>
                  <a:cubicBezTo>
                    <a:pt x="990" y="0"/>
                    <a:pt x="990" y="0"/>
                    <a:pt x="990" y="0"/>
                  </a:cubicBezTo>
                  <a:cubicBezTo>
                    <a:pt x="939" y="0"/>
                    <a:pt x="896" y="38"/>
                    <a:pt x="890" y="89"/>
                  </a:cubicBezTo>
                  <a:cubicBezTo>
                    <a:pt x="874" y="226"/>
                    <a:pt x="874" y="226"/>
                    <a:pt x="874" y="226"/>
                  </a:cubicBezTo>
                  <a:cubicBezTo>
                    <a:pt x="794" y="248"/>
                    <a:pt x="719" y="280"/>
                    <a:pt x="648" y="322"/>
                  </a:cubicBezTo>
                  <a:cubicBezTo>
                    <a:pt x="538" y="234"/>
                    <a:pt x="538" y="234"/>
                    <a:pt x="538" y="234"/>
                  </a:cubicBezTo>
                  <a:cubicBezTo>
                    <a:pt x="498" y="202"/>
                    <a:pt x="440" y="206"/>
                    <a:pt x="404" y="242"/>
                  </a:cubicBezTo>
                  <a:cubicBezTo>
                    <a:pt x="235" y="411"/>
                    <a:pt x="235" y="411"/>
                    <a:pt x="235" y="411"/>
                  </a:cubicBezTo>
                  <a:cubicBezTo>
                    <a:pt x="199" y="447"/>
                    <a:pt x="196" y="505"/>
                    <a:pt x="228" y="545"/>
                  </a:cubicBezTo>
                  <a:cubicBezTo>
                    <a:pt x="320" y="662"/>
                    <a:pt x="320" y="662"/>
                    <a:pt x="320" y="662"/>
                  </a:cubicBezTo>
                  <a:cubicBezTo>
                    <a:pt x="283" y="728"/>
                    <a:pt x="255" y="799"/>
                    <a:pt x="236" y="872"/>
                  </a:cubicBezTo>
                  <a:cubicBezTo>
                    <a:pt x="89" y="889"/>
                    <a:pt x="89" y="889"/>
                    <a:pt x="89" y="889"/>
                  </a:cubicBezTo>
                  <a:cubicBezTo>
                    <a:pt x="38" y="895"/>
                    <a:pt x="0" y="938"/>
                    <a:pt x="0" y="990"/>
                  </a:cubicBezTo>
                  <a:cubicBezTo>
                    <a:pt x="0" y="1228"/>
                    <a:pt x="0" y="1228"/>
                    <a:pt x="0" y="1228"/>
                  </a:cubicBezTo>
                  <a:cubicBezTo>
                    <a:pt x="0" y="1280"/>
                    <a:pt x="38" y="1323"/>
                    <a:pt x="89" y="1329"/>
                  </a:cubicBezTo>
                  <a:lnTo>
                    <a:pt x="244" y="1347"/>
                  </a:lnTo>
                  <a:close/>
                  <a:moveTo>
                    <a:pt x="1110" y="701"/>
                  </a:moveTo>
                  <a:cubicBezTo>
                    <a:pt x="1327" y="701"/>
                    <a:pt x="1504" y="878"/>
                    <a:pt x="1504" y="1096"/>
                  </a:cubicBezTo>
                  <a:cubicBezTo>
                    <a:pt x="1504" y="1313"/>
                    <a:pt x="1327" y="1490"/>
                    <a:pt x="1110" y="1490"/>
                  </a:cubicBezTo>
                  <a:cubicBezTo>
                    <a:pt x="892" y="1490"/>
                    <a:pt x="715" y="1313"/>
                    <a:pt x="715" y="1096"/>
                  </a:cubicBezTo>
                  <a:cubicBezTo>
                    <a:pt x="715" y="878"/>
                    <a:pt x="892" y="701"/>
                    <a:pt x="1110" y="701"/>
                  </a:cubicBezTo>
                  <a:close/>
                </a:path>
              </a:pathLst>
            </a:custGeom>
            <a:solidFill>
              <a:srgbClr val="0082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/>
            </a:p>
          </p:txBody>
        </p:sp>
        <p:sp>
          <p:nvSpPr>
            <p:cNvPr id="212" name="Freeform 6"/>
            <p:cNvSpPr>
              <a:spLocks noEditPoints="1"/>
            </p:cNvSpPr>
            <p:nvPr/>
          </p:nvSpPr>
          <p:spPr bwMode="auto">
            <a:xfrm>
              <a:off x="10266363" y="1162050"/>
              <a:ext cx="1852613" cy="1895475"/>
            </a:xfrm>
            <a:custGeom>
              <a:avLst/>
              <a:gdLst>
                <a:gd name="T0" fmla="*/ 1562 w 1824"/>
                <a:gd name="T1" fmla="*/ 278 h 1827"/>
                <a:gd name="T2" fmla="*/ 1436 w 1824"/>
                <a:gd name="T3" fmla="*/ 171 h 1827"/>
                <a:gd name="T4" fmla="*/ 1304 w 1824"/>
                <a:gd name="T5" fmla="*/ 175 h 1827"/>
                <a:gd name="T6" fmla="*/ 1234 w 1824"/>
                <a:gd name="T7" fmla="*/ 240 h 1827"/>
                <a:gd name="T8" fmla="*/ 1048 w 1824"/>
                <a:gd name="T9" fmla="*/ 180 h 1827"/>
                <a:gd name="T10" fmla="*/ 1029 w 1824"/>
                <a:gd name="T11" fmla="*/ 84 h 1827"/>
                <a:gd name="T12" fmla="*/ 922 w 1824"/>
                <a:gd name="T13" fmla="*/ 4 h 1827"/>
                <a:gd name="T14" fmla="*/ 758 w 1824"/>
                <a:gd name="T15" fmla="*/ 18 h 1827"/>
                <a:gd name="T16" fmla="*/ 666 w 1824"/>
                <a:gd name="T17" fmla="*/ 114 h 1827"/>
                <a:gd name="T18" fmla="*/ 663 w 1824"/>
                <a:gd name="T19" fmla="*/ 212 h 1827"/>
                <a:gd name="T20" fmla="*/ 486 w 1824"/>
                <a:gd name="T21" fmla="*/ 305 h 1827"/>
                <a:gd name="T22" fmla="*/ 403 w 1824"/>
                <a:gd name="T23" fmla="*/ 250 h 1827"/>
                <a:gd name="T24" fmla="*/ 271 w 1824"/>
                <a:gd name="T25" fmla="*/ 269 h 1827"/>
                <a:gd name="T26" fmla="*/ 165 w 1824"/>
                <a:gd name="T27" fmla="*/ 396 h 1827"/>
                <a:gd name="T28" fmla="*/ 168 w 1824"/>
                <a:gd name="T29" fmla="*/ 528 h 1827"/>
                <a:gd name="T30" fmla="*/ 241 w 1824"/>
                <a:gd name="T31" fmla="*/ 606 h 1827"/>
                <a:gd name="T32" fmla="*/ 188 w 1824"/>
                <a:gd name="T33" fmla="*/ 784 h 1827"/>
                <a:gd name="T34" fmla="*/ 84 w 1824"/>
                <a:gd name="T35" fmla="*/ 805 h 1827"/>
                <a:gd name="T36" fmla="*/ 4 w 1824"/>
                <a:gd name="T37" fmla="*/ 911 h 1827"/>
                <a:gd name="T38" fmla="*/ 18 w 1824"/>
                <a:gd name="T39" fmla="*/ 1076 h 1827"/>
                <a:gd name="T40" fmla="*/ 114 w 1824"/>
                <a:gd name="T41" fmla="*/ 1167 h 1827"/>
                <a:gd name="T42" fmla="*/ 226 w 1824"/>
                <a:gd name="T43" fmla="*/ 1171 h 1827"/>
                <a:gd name="T44" fmla="*/ 306 w 1824"/>
                <a:gd name="T45" fmla="*/ 1323 h 1827"/>
                <a:gd name="T46" fmla="*/ 243 w 1824"/>
                <a:gd name="T47" fmla="*/ 1418 h 1827"/>
                <a:gd name="T48" fmla="*/ 262 w 1824"/>
                <a:gd name="T49" fmla="*/ 1549 h 1827"/>
                <a:gd name="T50" fmla="*/ 388 w 1824"/>
                <a:gd name="T51" fmla="*/ 1656 h 1827"/>
                <a:gd name="T52" fmla="*/ 521 w 1824"/>
                <a:gd name="T53" fmla="*/ 1652 h 1827"/>
                <a:gd name="T54" fmla="*/ 603 w 1824"/>
                <a:gd name="T55" fmla="*/ 1575 h 1827"/>
                <a:gd name="T56" fmla="*/ 772 w 1824"/>
                <a:gd name="T57" fmla="*/ 1630 h 1827"/>
                <a:gd name="T58" fmla="*/ 795 w 1824"/>
                <a:gd name="T59" fmla="*/ 1743 h 1827"/>
                <a:gd name="T60" fmla="*/ 902 w 1824"/>
                <a:gd name="T61" fmla="*/ 1823 h 1827"/>
                <a:gd name="T62" fmla="*/ 1066 w 1824"/>
                <a:gd name="T63" fmla="*/ 1809 h 1827"/>
                <a:gd name="T64" fmla="*/ 1158 w 1824"/>
                <a:gd name="T65" fmla="*/ 1712 h 1827"/>
                <a:gd name="T66" fmla="*/ 1161 w 1824"/>
                <a:gd name="T67" fmla="*/ 1602 h 1827"/>
                <a:gd name="T68" fmla="*/ 1330 w 1824"/>
                <a:gd name="T69" fmla="*/ 1516 h 1827"/>
                <a:gd name="T70" fmla="*/ 1421 w 1824"/>
                <a:gd name="T71" fmla="*/ 1576 h 1827"/>
                <a:gd name="T72" fmla="*/ 1553 w 1824"/>
                <a:gd name="T73" fmla="*/ 1558 h 1827"/>
                <a:gd name="T74" fmla="*/ 1659 w 1824"/>
                <a:gd name="T75" fmla="*/ 1432 h 1827"/>
                <a:gd name="T76" fmla="*/ 1656 w 1824"/>
                <a:gd name="T77" fmla="*/ 1299 h 1827"/>
                <a:gd name="T78" fmla="*/ 1582 w 1824"/>
                <a:gd name="T79" fmla="*/ 1221 h 1827"/>
                <a:gd name="T80" fmla="*/ 1640 w 1824"/>
                <a:gd name="T81" fmla="*/ 1043 h 1827"/>
                <a:gd name="T82" fmla="*/ 1740 w 1824"/>
                <a:gd name="T83" fmla="*/ 1022 h 1827"/>
                <a:gd name="T84" fmla="*/ 1820 w 1824"/>
                <a:gd name="T85" fmla="*/ 916 h 1827"/>
                <a:gd name="T86" fmla="*/ 1806 w 1824"/>
                <a:gd name="T87" fmla="*/ 752 h 1827"/>
                <a:gd name="T88" fmla="*/ 1710 w 1824"/>
                <a:gd name="T89" fmla="*/ 660 h 1827"/>
                <a:gd name="T90" fmla="*/ 1609 w 1824"/>
                <a:gd name="T91" fmla="*/ 657 h 1827"/>
                <a:gd name="T92" fmla="*/ 1526 w 1824"/>
                <a:gd name="T93" fmla="*/ 492 h 1827"/>
                <a:gd name="T94" fmla="*/ 1580 w 1824"/>
                <a:gd name="T95" fmla="*/ 410 h 1827"/>
                <a:gd name="T96" fmla="*/ 1562 w 1824"/>
                <a:gd name="T97" fmla="*/ 278 h 1827"/>
                <a:gd name="T98" fmla="*/ 943 w 1824"/>
                <a:gd name="T99" fmla="*/ 1228 h 1827"/>
                <a:gd name="T100" fmla="*/ 594 w 1824"/>
                <a:gd name="T101" fmla="*/ 933 h 1827"/>
                <a:gd name="T102" fmla="*/ 888 w 1824"/>
                <a:gd name="T103" fmla="*/ 584 h 1827"/>
                <a:gd name="T104" fmla="*/ 1238 w 1824"/>
                <a:gd name="T105" fmla="*/ 879 h 1827"/>
                <a:gd name="T106" fmla="*/ 943 w 1824"/>
                <a:gd name="T107" fmla="*/ 1228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24" h="1827">
                  <a:moveTo>
                    <a:pt x="1562" y="278"/>
                  </a:moveTo>
                  <a:cubicBezTo>
                    <a:pt x="1436" y="171"/>
                    <a:pt x="1436" y="171"/>
                    <a:pt x="1436" y="171"/>
                  </a:cubicBezTo>
                  <a:cubicBezTo>
                    <a:pt x="1398" y="138"/>
                    <a:pt x="1340" y="140"/>
                    <a:pt x="1304" y="175"/>
                  </a:cubicBezTo>
                  <a:cubicBezTo>
                    <a:pt x="1234" y="240"/>
                    <a:pt x="1234" y="240"/>
                    <a:pt x="1234" y="240"/>
                  </a:cubicBezTo>
                  <a:cubicBezTo>
                    <a:pt x="1175" y="212"/>
                    <a:pt x="1113" y="192"/>
                    <a:pt x="1048" y="180"/>
                  </a:cubicBezTo>
                  <a:cubicBezTo>
                    <a:pt x="1029" y="84"/>
                    <a:pt x="1029" y="84"/>
                    <a:pt x="1029" y="84"/>
                  </a:cubicBezTo>
                  <a:cubicBezTo>
                    <a:pt x="1019" y="34"/>
                    <a:pt x="973" y="0"/>
                    <a:pt x="922" y="4"/>
                  </a:cubicBezTo>
                  <a:cubicBezTo>
                    <a:pt x="758" y="18"/>
                    <a:pt x="758" y="18"/>
                    <a:pt x="758" y="18"/>
                  </a:cubicBezTo>
                  <a:cubicBezTo>
                    <a:pt x="708" y="22"/>
                    <a:pt x="668" y="64"/>
                    <a:pt x="666" y="114"/>
                  </a:cubicBezTo>
                  <a:cubicBezTo>
                    <a:pt x="663" y="212"/>
                    <a:pt x="663" y="212"/>
                    <a:pt x="663" y="212"/>
                  </a:cubicBezTo>
                  <a:cubicBezTo>
                    <a:pt x="600" y="235"/>
                    <a:pt x="540" y="266"/>
                    <a:pt x="486" y="305"/>
                  </a:cubicBezTo>
                  <a:cubicBezTo>
                    <a:pt x="403" y="250"/>
                    <a:pt x="403" y="250"/>
                    <a:pt x="403" y="250"/>
                  </a:cubicBezTo>
                  <a:cubicBezTo>
                    <a:pt x="360" y="222"/>
                    <a:pt x="304" y="230"/>
                    <a:pt x="271" y="269"/>
                  </a:cubicBezTo>
                  <a:cubicBezTo>
                    <a:pt x="165" y="396"/>
                    <a:pt x="165" y="396"/>
                    <a:pt x="165" y="396"/>
                  </a:cubicBezTo>
                  <a:cubicBezTo>
                    <a:pt x="132" y="434"/>
                    <a:pt x="134" y="492"/>
                    <a:pt x="168" y="528"/>
                  </a:cubicBezTo>
                  <a:cubicBezTo>
                    <a:pt x="241" y="606"/>
                    <a:pt x="241" y="606"/>
                    <a:pt x="241" y="606"/>
                  </a:cubicBezTo>
                  <a:cubicBezTo>
                    <a:pt x="216" y="663"/>
                    <a:pt x="198" y="722"/>
                    <a:pt x="188" y="784"/>
                  </a:cubicBezTo>
                  <a:cubicBezTo>
                    <a:pt x="84" y="805"/>
                    <a:pt x="84" y="805"/>
                    <a:pt x="84" y="805"/>
                  </a:cubicBezTo>
                  <a:cubicBezTo>
                    <a:pt x="34" y="815"/>
                    <a:pt x="0" y="861"/>
                    <a:pt x="4" y="911"/>
                  </a:cubicBezTo>
                  <a:cubicBezTo>
                    <a:pt x="18" y="1076"/>
                    <a:pt x="18" y="1076"/>
                    <a:pt x="18" y="1076"/>
                  </a:cubicBezTo>
                  <a:cubicBezTo>
                    <a:pt x="22" y="1126"/>
                    <a:pt x="63" y="1166"/>
                    <a:pt x="114" y="1167"/>
                  </a:cubicBezTo>
                  <a:cubicBezTo>
                    <a:pt x="226" y="1171"/>
                    <a:pt x="226" y="1171"/>
                    <a:pt x="226" y="1171"/>
                  </a:cubicBezTo>
                  <a:cubicBezTo>
                    <a:pt x="247" y="1224"/>
                    <a:pt x="274" y="1275"/>
                    <a:pt x="306" y="1323"/>
                  </a:cubicBezTo>
                  <a:cubicBezTo>
                    <a:pt x="243" y="1418"/>
                    <a:pt x="243" y="1418"/>
                    <a:pt x="243" y="1418"/>
                  </a:cubicBezTo>
                  <a:cubicBezTo>
                    <a:pt x="215" y="1460"/>
                    <a:pt x="223" y="1516"/>
                    <a:pt x="262" y="1549"/>
                  </a:cubicBezTo>
                  <a:cubicBezTo>
                    <a:pt x="388" y="1656"/>
                    <a:pt x="388" y="1656"/>
                    <a:pt x="388" y="1656"/>
                  </a:cubicBezTo>
                  <a:cubicBezTo>
                    <a:pt x="427" y="1688"/>
                    <a:pt x="484" y="1687"/>
                    <a:pt x="521" y="1652"/>
                  </a:cubicBezTo>
                  <a:cubicBezTo>
                    <a:pt x="603" y="1575"/>
                    <a:pt x="603" y="1575"/>
                    <a:pt x="603" y="1575"/>
                  </a:cubicBezTo>
                  <a:cubicBezTo>
                    <a:pt x="657" y="1600"/>
                    <a:pt x="714" y="1619"/>
                    <a:pt x="772" y="1630"/>
                  </a:cubicBezTo>
                  <a:cubicBezTo>
                    <a:pt x="795" y="1743"/>
                    <a:pt x="795" y="1743"/>
                    <a:pt x="795" y="1743"/>
                  </a:cubicBezTo>
                  <a:cubicBezTo>
                    <a:pt x="805" y="1792"/>
                    <a:pt x="851" y="1827"/>
                    <a:pt x="902" y="1823"/>
                  </a:cubicBezTo>
                  <a:cubicBezTo>
                    <a:pt x="1066" y="1809"/>
                    <a:pt x="1066" y="1809"/>
                    <a:pt x="1066" y="1809"/>
                  </a:cubicBezTo>
                  <a:cubicBezTo>
                    <a:pt x="1116" y="1804"/>
                    <a:pt x="1156" y="1763"/>
                    <a:pt x="1158" y="1712"/>
                  </a:cubicBezTo>
                  <a:cubicBezTo>
                    <a:pt x="1161" y="1602"/>
                    <a:pt x="1161" y="1602"/>
                    <a:pt x="1161" y="1602"/>
                  </a:cubicBezTo>
                  <a:cubicBezTo>
                    <a:pt x="1221" y="1581"/>
                    <a:pt x="1278" y="1552"/>
                    <a:pt x="1330" y="1516"/>
                  </a:cubicBezTo>
                  <a:cubicBezTo>
                    <a:pt x="1421" y="1576"/>
                    <a:pt x="1421" y="1576"/>
                    <a:pt x="1421" y="1576"/>
                  </a:cubicBezTo>
                  <a:cubicBezTo>
                    <a:pt x="1464" y="1604"/>
                    <a:pt x="1520" y="1596"/>
                    <a:pt x="1553" y="1558"/>
                  </a:cubicBezTo>
                  <a:cubicBezTo>
                    <a:pt x="1659" y="1432"/>
                    <a:pt x="1659" y="1432"/>
                    <a:pt x="1659" y="1432"/>
                  </a:cubicBezTo>
                  <a:cubicBezTo>
                    <a:pt x="1692" y="1393"/>
                    <a:pt x="1690" y="1336"/>
                    <a:pt x="1656" y="1299"/>
                  </a:cubicBezTo>
                  <a:cubicBezTo>
                    <a:pt x="1582" y="1221"/>
                    <a:pt x="1582" y="1221"/>
                    <a:pt x="1582" y="1221"/>
                  </a:cubicBezTo>
                  <a:cubicBezTo>
                    <a:pt x="1609" y="1164"/>
                    <a:pt x="1629" y="1104"/>
                    <a:pt x="1640" y="1043"/>
                  </a:cubicBezTo>
                  <a:cubicBezTo>
                    <a:pt x="1740" y="1022"/>
                    <a:pt x="1740" y="1022"/>
                    <a:pt x="1740" y="1022"/>
                  </a:cubicBezTo>
                  <a:cubicBezTo>
                    <a:pt x="1790" y="1012"/>
                    <a:pt x="1824" y="966"/>
                    <a:pt x="1820" y="916"/>
                  </a:cubicBezTo>
                  <a:cubicBezTo>
                    <a:pt x="1806" y="752"/>
                    <a:pt x="1806" y="752"/>
                    <a:pt x="1806" y="752"/>
                  </a:cubicBezTo>
                  <a:cubicBezTo>
                    <a:pt x="1802" y="701"/>
                    <a:pt x="1760" y="662"/>
                    <a:pt x="1710" y="660"/>
                  </a:cubicBezTo>
                  <a:cubicBezTo>
                    <a:pt x="1609" y="657"/>
                    <a:pt x="1609" y="657"/>
                    <a:pt x="1609" y="657"/>
                  </a:cubicBezTo>
                  <a:cubicBezTo>
                    <a:pt x="1588" y="598"/>
                    <a:pt x="1560" y="543"/>
                    <a:pt x="1526" y="492"/>
                  </a:cubicBezTo>
                  <a:cubicBezTo>
                    <a:pt x="1580" y="410"/>
                    <a:pt x="1580" y="410"/>
                    <a:pt x="1580" y="410"/>
                  </a:cubicBezTo>
                  <a:cubicBezTo>
                    <a:pt x="1609" y="367"/>
                    <a:pt x="1601" y="310"/>
                    <a:pt x="1562" y="278"/>
                  </a:cubicBezTo>
                  <a:close/>
                  <a:moveTo>
                    <a:pt x="943" y="1228"/>
                  </a:moveTo>
                  <a:cubicBezTo>
                    <a:pt x="765" y="1243"/>
                    <a:pt x="608" y="1111"/>
                    <a:pt x="594" y="933"/>
                  </a:cubicBezTo>
                  <a:cubicBezTo>
                    <a:pt x="578" y="756"/>
                    <a:pt x="711" y="599"/>
                    <a:pt x="888" y="584"/>
                  </a:cubicBezTo>
                  <a:cubicBezTo>
                    <a:pt x="1066" y="569"/>
                    <a:pt x="1223" y="701"/>
                    <a:pt x="1238" y="879"/>
                  </a:cubicBezTo>
                  <a:cubicBezTo>
                    <a:pt x="1253" y="1056"/>
                    <a:pt x="1120" y="1213"/>
                    <a:pt x="943" y="1228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/>
            </a:p>
          </p:txBody>
        </p:sp>
        <p:sp>
          <p:nvSpPr>
            <p:cNvPr id="213" name="Freeform 7"/>
            <p:cNvSpPr>
              <a:spLocks noEditPoints="1"/>
            </p:cNvSpPr>
            <p:nvPr/>
          </p:nvSpPr>
          <p:spPr bwMode="auto">
            <a:xfrm>
              <a:off x="9067800" y="2289175"/>
              <a:ext cx="1500188" cy="1531938"/>
            </a:xfrm>
            <a:custGeom>
              <a:avLst/>
              <a:gdLst>
                <a:gd name="T0" fmla="*/ 92 w 1477"/>
                <a:gd name="T1" fmla="*/ 583 h 1476"/>
                <a:gd name="T2" fmla="*/ 2 w 1477"/>
                <a:gd name="T3" fmla="*/ 682 h 1476"/>
                <a:gd name="T4" fmla="*/ 1 w 1477"/>
                <a:gd name="T5" fmla="*/ 783 h 1476"/>
                <a:gd name="T6" fmla="*/ 88 w 1477"/>
                <a:gd name="T7" fmla="*/ 883 h 1476"/>
                <a:gd name="T8" fmla="*/ 162 w 1477"/>
                <a:gd name="T9" fmla="*/ 893 h 1476"/>
                <a:gd name="T10" fmla="*/ 215 w 1477"/>
                <a:gd name="T11" fmla="*/ 1022 h 1476"/>
                <a:gd name="T12" fmla="*/ 167 w 1477"/>
                <a:gd name="T13" fmla="*/ 1081 h 1476"/>
                <a:gd name="T14" fmla="*/ 173 w 1477"/>
                <a:gd name="T15" fmla="*/ 1214 h 1476"/>
                <a:gd name="T16" fmla="*/ 244 w 1477"/>
                <a:gd name="T17" fmla="*/ 1287 h 1476"/>
                <a:gd name="T18" fmla="*/ 377 w 1477"/>
                <a:gd name="T19" fmla="*/ 1296 h 1476"/>
                <a:gd name="T20" fmla="*/ 436 w 1477"/>
                <a:gd name="T21" fmla="*/ 1250 h 1476"/>
                <a:gd name="T22" fmla="*/ 569 w 1477"/>
                <a:gd name="T23" fmla="*/ 1308 h 1476"/>
                <a:gd name="T24" fmla="*/ 577 w 1477"/>
                <a:gd name="T25" fmla="*/ 1385 h 1476"/>
                <a:gd name="T26" fmla="*/ 676 w 1477"/>
                <a:gd name="T27" fmla="*/ 1474 h 1476"/>
                <a:gd name="T28" fmla="*/ 777 w 1477"/>
                <a:gd name="T29" fmla="*/ 1475 h 1476"/>
                <a:gd name="T30" fmla="*/ 877 w 1477"/>
                <a:gd name="T31" fmla="*/ 1388 h 1476"/>
                <a:gd name="T32" fmla="*/ 886 w 1477"/>
                <a:gd name="T33" fmla="*/ 1315 h 1476"/>
                <a:gd name="T34" fmla="*/ 1030 w 1477"/>
                <a:gd name="T35" fmla="*/ 1259 h 1476"/>
                <a:gd name="T36" fmla="*/ 1086 w 1477"/>
                <a:gd name="T37" fmla="*/ 1305 h 1476"/>
                <a:gd name="T38" fmla="*/ 1219 w 1477"/>
                <a:gd name="T39" fmla="*/ 1299 h 1476"/>
                <a:gd name="T40" fmla="*/ 1292 w 1477"/>
                <a:gd name="T41" fmla="*/ 1228 h 1476"/>
                <a:gd name="T42" fmla="*/ 1301 w 1477"/>
                <a:gd name="T43" fmla="*/ 1095 h 1476"/>
                <a:gd name="T44" fmla="*/ 1258 w 1477"/>
                <a:gd name="T45" fmla="*/ 1039 h 1476"/>
                <a:gd name="T46" fmla="*/ 1319 w 1477"/>
                <a:gd name="T47" fmla="*/ 899 h 1476"/>
                <a:gd name="T48" fmla="*/ 1385 w 1477"/>
                <a:gd name="T49" fmla="*/ 893 h 1476"/>
                <a:gd name="T50" fmla="*/ 1475 w 1477"/>
                <a:gd name="T51" fmla="*/ 794 h 1476"/>
                <a:gd name="T52" fmla="*/ 1476 w 1477"/>
                <a:gd name="T53" fmla="*/ 693 h 1476"/>
                <a:gd name="T54" fmla="*/ 1389 w 1477"/>
                <a:gd name="T55" fmla="*/ 593 h 1476"/>
                <a:gd name="T56" fmla="*/ 1324 w 1477"/>
                <a:gd name="T57" fmla="*/ 584 h 1476"/>
                <a:gd name="T58" fmla="*/ 1269 w 1477"/>
                <a:gd name="T59" fmla="*/ 444 h 1476"/>
                <a:gd name="T60" fmla="*/ 1310 w 1477"/>
                <a:gd name="T61" fmla="*/ 395 h 1476"/>
                <a:gd name="T62" fmla="*/ 1304 w 1477"/>
                <a:gd name="T63" fmla="*/ 262 h 1476"/>
                <a:gd name="T64" fmla="*/ 1233 w 1477"/>
                <a:gd name="T65" fmla="*/ 189 h 1476"/>
                <a:gd name="T66" fmla="*/ 1100 w 1477"/>
                <a:gd name="T67" fmla="*/ 180 h 1476"/>
                <a:gd name="T68" fmla="*/ 1052 w 1477"/>
                <a:gd name="T69" fmla="*/ 217 h 1476"/>
                <a:gd name="T70" fmla="*/ 906 w 1477"/>
                <a:gd name="T71" fmla="*/ 154 h 1476"/>
                <a:gd name="T72" fmla="*/ 900 w 1477"/>
                <a:gd name="T73" fmla="*/ 91 h 1476"/>
                <a:gd name="T74" fmla="*/ 801 w 1477"/>
                <a:gd name="T75" fmla="*/ 2 h 1476"/>
                <a:gd name="T76" fmla="*/ 700 w 1477"/>
                <a:gd name="T77" fmla="*/ 1 h 1476"/>
                <a:gd name="T78" fmla="*/ 600 w 1477"/>
                <a:gd name="T79" fmla="*/ 88 h 1476"/>
                <a:gd name="T80" fmla="*/ 592 w 1477"/>
                <a:gd name="T81" fmla="*/ 150 h 1476"/>
                <a:gd name="T82" fmla="*/ 441 w 1477"/>
                <a:gd name="T83" fmla="*/ 212 h 1476"/>
                <a:gd name="T84" fmla="*/ 391 w 1477"/>
                <a:gd name="T85" fmla="*/ 171 h 1476"/>
                <a:gd name="T86" fmla="*/ 258 w 1477"/>
                <a:gd name="T87" fmla="*/ 177 h 1476"/>
                <a:gd name="T88" fmla="*/ 185 w 1477"/>
                <a:gd name="T89" fmla="*/ 248 h 1476"/>
                <a:gd name="T90" fmla="*/ 176 w 1477"/>
                <a:gd name="T91" fmla="*/ 381 h 1476"/>
                <a:gd name="T92" fmla="*/ 219 w 1477"/>
                <a:gd name="T93" fmla="*/ 436 h 1476"/>
                <a:gd name="T94" fmla="*/ 162 w 1477"/>
                <a:gd name="T95" fmla="*/ 576 h 1476"/>
                <a:gd name="T96" fmla="*/ 92 w 1477"/>
                <a:gd name="T97" fmla="*/ 583 h 1476"/>
                <a:gd name="T98" fmla="*/ 745 w 1477"/>
                <a:gd name="T99" fmla="*/ 469 h 1476"/>
                <a:gd name="T100" fmla="*/ 1005 w 1477"/>
                <a:gd name="T101" fmla="*/ 735 h 1476"/>
                <a:gd name="T102" fmla="*/ 738 w 1477"/>
                <a:gd name="T103" fmla="*/ 995 h 1476"/>
                <a:gd name="T104" fmla="*/ 478 w 1477"/>
                <a:gd name="T105" fmla="*/ 729 h 1476"/>
                <a:gd name="T106" fmla="*/ 745 w 1477"/>
                <a:gd name="T107" fmla="*/ 469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77" h="1476">
                  <a:moveTo>
                    <a:pt x="92" y="583"/>
                  </a:moveTo>
                  <a:cubicBezTo>
                    <a:pt x="41" y="589"/>
                    <a:pt x="2" y="631"/>
                    <a:pt x="2" y="682"/>
                  </a:cubicBezTo>
                  <a:cubicBezTo>
                    <a:pt x="1" y="783"/>
                    <a:pt x="1" y="783"/>
                    <a:pt x="1" y="783"/>
                  </a:cubicBezTo>
                  <a:cubicBezTo>
                    <a:pt x="0" y="834"/>
                    <a:pt x="38" y="877"/>
                    <a:pt x="88" y="883"/>
                  </a:cubicBezTo>
                  <a:cubicBezTo>
                    <a:pt x="162" y="893"/>
                    <a:pt x="162" y="893"/>
                    <a:pt x="162" y="893"/>
                  </a:cubicBezTo>
                  <a:cubicBezTo>
                    <a:pt x="175" y="938"/>
                    <a:pt x="192" y="981"/>
                    <a:pt x="215" y="1022"/>
                  </a:cubicBezTo>
                  <a:cubicBezTo>
                    <a:pt x="167" y="1081"/>
                    <a:pt x="167" y="1081"/>
                    <a:pt x="167" y="1081"/>
                  </a:cubicBezTo>
                  <a:cubicBezTo>
                    <a:pt x="135" y="1121"/>
                    <a:pt x="138" y="1178"/>
                    <a:pt x="173" y="1214"/>
                  </a:cubicBezTo>
                  <a:cubicBezTo>
                    <a:pt x="244" y="1287"/>
                    <a:pt x="244" y="1287"/>
                    <a:pt x="244" y="1287"/>
                  </a:cubicBezTo>
                  <a:cubicBezTo>
                    <a:pt x="280" y="1323"/>
                    <a:pt x="336" y="1327"/>
                    <a:pt x="377" y="1296"/>
                  </a:cubicBezTo>
                  <a:cubicBezTo>
                    <a:pt x="436" y="1250"/>
                    <a:pt x="436" y="1250"/>
                    <a:pt x="436" y="1250"/>
                  </a:cubicBezTo>
                  <a:cubicBezTo>
                    <a:pt x="478" y="1275"/>
                    <a:pt x="523" y="1294"/>
                    <a:pt x="569" y="1308"/>
                  </a:cubicBezTo>
                  <a:cubicBezTo>
                    <a:pt x="577" y="1385"/>
                    <a:pt x="577" y="1385"/>
                    <a:pt x="577" y="1385"/>
                  </a:cubicBezTo>
                  <a:cubicBezTo>
                    <a:pt x="582" y="1435"/>
                    <a:pt x="625" y="1474"/>
                    <a:pt x="676" y="1474"/>
                  </a:cubicBezTo>
                  <a:cubicBezTo>
                    <a:pt x="777" y="1475"/>
                    <a:pt x="777" y="1475"/>
                    <a:pt x="777" y="1475"/>
                  </a:cubicBezTo>
                  <a:cubicBezTo>
                    <a:pt x="828" y="1476"/>
                    <a:pt x="871" y="1439"/>
                    <a:pt x="877" y="1388"/>
                  </a:cubicBezTo>
                  <a:cubicBezTo>
                    <a:pt x="886" y="1315"/>
                    <a:pt x="886" y="1315"/>
                    <a:pt x="886" y="1315"/>
                  </a:cubicBezTo>
                  <a:cubicBezTo>
                    <a:pt x="937" y="1303"/>
                    <a:pt x="985" y="1284"/>
                    <a:pt x="1030" y="1259"/>
                  </a:cubicBezTo>
                  <a:cubicBezTo>
                    <a:pt x="1086" y="1305"/>
                    <a:pt x="1086" y="1305"/>
                    <a:pt x="1086" y="1305"/>
                  </a:cubicBezTo>
                  <a:cubicBezTo>
                    <a:pt x="1126" y="1337"/>
                    <a:pt x="1183" y="1334"/>
                    <a:pt x="1219" y="1299"/>
                  </a:cubicBezTo>
                  <a:cubicBezTo>
                    <a:pt x="1292" y="1228"/>
                    <a:pt x="1292" y="1228"/>
                    <a:pt x="1292" y="1228"/>
                  </a:cubicBezTo>
                  <a:cubicBezTo>
                    <a:pt x="1328" y="1192"/>
                    <a:pt x="1332" y="1135"/>
                    <a:pt x="1301" y="1095"/>
                  </a:cubicBezTo>
                  <a:cubicBezTo>
                    <a:pt x="1258" y="1039"/>
                    <a:pt x="1258" y="1039"/>
                    <a:pt x="1258" y="1039"/>
                  </a:cubicBezTo>
                  <a:cubicBezTo>
                    <a:pt x="1284" y="995"/>
                    <a:pt x="1305" y="949"/>
                    <a:pt x="1319" y="899"/>
                  </a:cubicBezTo>
                  <a:cubicBezTo>
                    <a:pt x="1385" y="893"/>
                    <a:pt x="1385" y="893"/>
                    <a:pt x="1385" y="893"/>
                  </a:cubicBezTo>
                  <a:cubicBezTo>
                    <a:pt x="1436" y="887"/>
                    <a:pt x="1474" y="845"/>
                    <a:pt x="1475" y="794"/>
                  </a:cubicBezTo>
                  <a:cubicBezTo>
                    <a:pt x="1476" y="693"/>
                    <a:pt x="1476" y="693"/>
                    <a:pt x="1476" y="693"/>
                  </a:cubicBezTo>
                  <a:cubicBezTo>
                    <a:pt x="1477" y="642"/>
                    <a:pt x="1439" y="599"/>
                    <a:pt x="1389" y="593"/>
                  </a:cubicBezTo>
                  <a:cubicBezTo>
                    <a:pt x="1324" y="584"/>
                    <a:pt x="1324" y="584"/>
                    <a:pt x="1324" y="584"/>
                  </a:cubicBezTo>
                  <a:cubicBezTo>
                    <a:pt x="1312" y="535"/>
                    <a:pt x="1293" y="488"/>
                    <a:pt x="1269" y="444"/>
                  </a:cubicBezTo>
                  <a:cubicBezTo>
                    <a:pt x="1310" y="395"/>
                    <a:pt x="1310" y="395"/>
                    <a:pt x="1310" y="395"/>
                  </a:cubicBezTo>
                  <a:cubicBezTo>
                    <a:pt x="1342" y="355"/>
                    <a:pt x="1339" y="298"/>
                    <a:pt x="1304" y="262"/>
                  </a:cubicBezTo>
                  <a:cubicBezTo>
                    <a:pt x="1233" y="189"/>
                    <a:pt x="1233" y="189"/>
                    <a:pt x="1233" y="189"/>
                  </a:cubicBezTo>
                  <a:cubicBezTo>
                    <a:pt x="1197" y="153"/>
                    <a:pt x="1140" y="149"/>
                    <a:pt x="1100" y="180"/>
                  </a:cubicBezTo>
                  <a:cubicBezTo>
                    <a:pt x="1052" y="217"/>
                    <a:pt x="1052" y="217"/>
                    <a:pt x="1052" y="217"/>
                  </a:cubicBezTo>
                  <a:cubicBezTo>
                    <a:pt x="1006" y="190"/>
                    <a:pt x="957" y="169"/>
                    <a:pt x="906" y="154"/>
                  </a:cubicBezTo>
                  <a:cubicBezTo>
                    <a:pt x="900" y="91"/>
                    <a:pt x="900" y="91"/>
                    <a:pt x="900" y="91"/>
                  </a:cubicBezTo>
                  <a:cubicBezTo>
                    <a:pt x="894" y="41"/>
                    <a:pt x="852" y="2"/>
                    <a:pt x="801" y="2"/>
                  </a:cubicBezTo>
                  <a:cubicBezTo>
                    <a:pt x="700" y="1"/>
                    <a:pt x="700" y="1"/>
                    <a:pt x="700" y="1"/>
                  </a:cubicBezTo>
                  <a:cubicBezTo>
                    <a:pt x="649" y="0"/>
                    <a:pt x="606" y="37"/>
                    <a:pt x="600" y="88"/>
                  </a:cubicBezTo>
                  <a:cubicBezTo>
                    <a:pt x="592" y="150"/>
                    <a:pt x="592" y="150"/>
                    <a:pt x="592" y="150"/>
                  </a:cubicBezTo>
                  <a:cubicBezTo>
                    <a:pt x="539" y="164"/>
                    <a:pt x="488" y="185"/>
                    <a:pt x="441" y="212"/>
                  </a:cubicBezTo>
                  <a:cubicBezTo>
                    <a:pt x="391" y="171"/>
                    <a:pt x="391" y="171"/>
                    <a:pt x="391" y="171"/>
                  </a:cubicBezTo>
                  <a:cubicBezTo>
                    <a:pt x="351" y="139"/>
                    <a:pt x="294" y="141"/>
                    <a:pt x="258" y="177"/>
                  </a:cubicBezTo>
                  <a:cubicBezTo>
                    <a:pt x="185" y="248"/>
                    <a:pt x="185" y="248"/>
                    <a:pt x="185" y="248"/>
                  </a:cubicBezTo>
                  <a:cubicBezTo>
                    <a:pt x="149" y="284"/>
                    <a:pt x="145" y="341"/>
                    <a:pt x="176" y="381"/>
                  </a:cubicBezTo>
                  <a:cubicBezTo>
                    <a:pt x="219" y="436"/>
                    <a:pt x="219" y="436"/>
                    <a:pt x="219" y="436"/>
                  </a:cubicBezTo>
                  <a:cubicBezTo>
                    <a:pt x="194" y="480"/>
                    <a:pt x="174" y="527"/>
                    <a:pt x="162" y="576"/>
                  </a:cubicBezTo>
                  <a:lnTo>
                    <a:pt x="92" y="583"/>
                  </a:lnTo>
                  <a:close/>
                  <a:moveTo>
                    <a:pt x="745" y="469"/>
                  </a:moveTo>
                  <a:cubicBezTo>
                    <a:pt x="890" y="471"/>
                    <a:pt x="1006" y="590"/>
                    <a:pt x="1005" y="735"/>
                  </a:cubicBezTo>
                  <a:cubicBezTo>
                    <a:pt x="1003" y="881"/>
                    <a:pt x="884" y="997"/>
                    <a:pt x="738" y="995"/>
                  </a:cubicBezTo>
                  <a:cubicBezTo>
                    <a:pt x="593" y="994"/>
                    <a:pt x="477" y="874"/>
                    <a:pt x="478" y="729"/>
                  </a:cubicBezTo>
                  <a:cubicBezTo>
                    <a:pt x="480" y="584"/>
                    <a:pt x="600" y="467"/>
                    <a:pt x="745" y="469"/>
                  </a:cubicBezTo>
                  <a:close/>
                </a:path>
              </a:pathLst>
            </a:custGeom>
            <a:solidFill>
              <a:srgbClr val="B0DC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/>
            </a:p>
          </p:txBody>
        </p:sp>
      </p:grpSp>
      <p:grpSp>
        <p:nvGrpSpPr>
          <p:cNvPr id="214" name="Group 213"/>
          <p:cNvGrpSpPr/>
          <p:nvPr userDrawn="1"/>
        </p:nvGrpSpPr>
        <p:grpSpPr>
          <a:xfrm>
            <a:off x="-165911" y="5294916"/>
            <a:ext cx="1896253" cy="1916113"/>
            <a:chOff x="8329613" y="-7938"/>
            <a:chExt cx="3789363" cy="3829051"/>
          </a:xfrm>
          <a:solidFill>
            <a:srgbClr val="E1E1E1"/>
          </a:solidFill>
        </p:grpSpPr>
        <p:sp>
          <p:nvSpPr>
            <p:cNvPr id="215" name="Freeform 5"/>
            <p:cNvSpPr>
              <a:spLocks noEditPoints="1"/>
            </p:cNvSpPr>
            <p:nvPr/>
          </p:nvSpPr>
          <p:spPr bwMode="auto">
            <a:xfrm>
              <a:off x="8329613" y="-7938"/>
              <a:ext cx="2243138" cy="2290763"/>
            </a:xfrm>
            <a:custGeom>
              <a:avLst/>
              <a:gdLst>
                <a:gd name="T0" fmla="*/ 244 w 2210"/>
                <a:gd name="T1" fmla="*/ 1347 h 2209"/>
                <a:gd name="T2" fmla="*/ 326 w 2210"/>
                <a:gd name="T3" fmla="*/ 1540 h 2209"/>
                <a:gd name="T4" fmla="*/ 228 w 2210"/>
                <a:gd name="T5" fmla="*/ 1663 h 2209"/>
                <a:gd name="T6" fmla="*/ 235 w 2210"/>
                <a:gd name="T7" fmla="*/ 1798 h 2209"/>
                <a:gd name="T8" fmla="*/ 404 w 2210"/>
                <a:gd name="T9" fmla="*/ 1966 h 2209"/>
                <a:gd name="T10" fmla="*/ 538 w 2210"/>
                <a:gd name="T11" fmla="*/ 1974 h 2209"/>
                <a:gd name="T12" fmla="*/ 661 w 2210"/>
                <a:gd name="T13" fmla="*/ 1877 h 2209"/>
                <a:gd name="T14" fmla="*/ 862 w 2210"/>
                <a:gd name="T15" fmla="*/ 1962 h 2209"/>
                <a:gd name="T16" fmla="*/ 880 w 2210"/>
                <a:gd name="T17" fmla="*/ 2120 h 2209"/>
                <a:gd name="T18" fmla="*/ 980 w 2210"/>
                <a:gd name="T19" fmla="*/ 2209 h 2209"/>
                <a:gd name="T20" fmla="*/ 1219 w 2210"/>
                <a:gd name="T21" fmla="*/ 2209 h 2209"/>
                <a:gd name="T22" fmla="*/ 1320 w 2210"/>
                <a:gd name="T23" fmla="*/ 2120 h 2209"/>
                <a:gd name="T24" fmla="*/ 1337 w 2210"/>
                <a:gd name="T25" fmla="*/ 1967 h 2209"/>
                <a:gd name="T26" fmla="*/ 1552 w 2210"/>
                <a:gd name="T27" fmla="*/ 1880 h 2209"/>
                <a:gd name="T28" fmla="*/ 1671 w 2210"/>
                <a:gd name="T29" fmla="*/ 1974 h 2209"/>
                <a:gd name="T30" fmla="*/ 1805 w 2210"/>
                <a:gd name="T31" fmla="*/ 1967 h 2209"/>
                <a:gd name="T32" fmla="*/ 1974 w 2210"/>
                <a:gd name="T33" fmla="*/ 1798 h 2209"/>
                <a:gd name="T34" fmla="*/ 1982 w 2210"/>
                <a:gd name="T35" fmla="*/ 1664 h 2209"/>
                <a:gd name="T36" fmla="*/ 1889 w 2210"/>
                <a:gd name="T37" fmla="*/ 1546 h 2209"/>
                <a:gd name="T38" fmla="*/ 1978 w 2210"/>
                <a:gd name="T39" fmla="*/ 1335 h 2209"/>
                <a:gd name="T40" fmla="*/ 2120 w 2210"/>
                <a:gd name="T41" fmla="*/ 1319 h 2209"/>
                <a:gd name="T42" fmla="*/ 2210 w 2210"/>
                <a:gd name="T43" fmla="*/ 1218 h 2209"/>
                <a:gd name="T44" fmla="*/ 2210 w 2210"/>
                <a:gd name="T45" fmla="*/ 980 h 2209"/>
                <a:gd name="T46" fmla="*/ 2120 w 2210"/>
                <a:gd name="T47" fmla="*/ 879 h 2209"/>
                <a:gd name="T48" fmla="*/ 1980 w 2210"/>
                <a:gd name="T49" fmla="*/ 863 h 2209"/>
                <a:gd name="T50" fmla="*/ 1895 w 2210"/>
                <a:gd name="T51" fmla="*/ 654 h 2209"/>
                <a:gd name="T52" fmla="*/ 1981 w 2210"/>
                <a:gd name="T53" fmla="*/ 545 h 2209"/>
                <a:gd name="T54" fmla="*/ 1974 w 2210"/>
                <a:gd name="T55" fmla="*/ 410 h 2209"/>
                <a:gd name="T56" fmla="*/ 1805 w 2210"/>
                <a:gd name="T57" fmla="*/ 242 h 2209"/>
                <a:gd name="T58" fmla="*/ 1671 w 2210"/>
                <a:gd name="T59" fmla="*/ 234 h 2209"/>
                <a:gd name="T60" fmla="*/ 1565 w 2210"/>
                <a:gd name="T61" fmla="*/ 318 h 2209"/>
                <a:gd name="T62" fmla="*/ 1345 w 2210"/>
                <a:gd name="T63" fmla="*/ 226 h 2209"/>
                <a:gd name="T64" fmla="*/ 1329 w 2210"/>
                <a:gd name="T65" fmla="*/ 89 h 2209"/>
                <a:gd name="T66" fmla="*/ 1229 w 2210"/>
                <a:gd name="T67" fmla="*/ 0 h 2209"/>
                <a:gd name="T68" fmla="*/ 990 w 2210"/>
                <a:gd name="T69" fmla="*/ 0 h 2209"/>
                <a:gd name="T70" fmla="*/ 890 w 2210"/>
                <a:gd name="T71" fmla="*/ 89 h 2209"/>
                <a:gd name="T72" fmla="*/ 874 w 2210"/>
                <a:gd name="T73" fmla="*/ 226 h 2209"/>
                <a:gd name="T74" fmla="*/ 648 w 2210"/>
                <a:gd name="T75" fmla="*/ 322 h 2209"/>
                <a:gd name="T76" fmla="*/ 538 w 2210"/>
                <a:gd name="T77" fmla="*/ 234 h 2209"/>
                <a:gd name="T78" fmla="*/ 404 w 2210"/>
                <a:gd name="T79" fmla="*/ 242 h 2209"/>
                <a:gd name="T80" fmla="*/ 235 w 2210"/>
                <a:gd name="T81" fmla="*/ 411 h 2209"/>
                <a:gd name="T82" fmla="*/ 228 w 2210"/>
                <a:gd name="T83" fmla="*/ 545 h 2209"/>
                <a:gd name="T84" fmla="*/ 320 w 2210"/>
                <a:gd name="T85" fmla="*/ 662 h 2209"/>
                <a:gd name="T86" fmla="*/ 236 w 2210"/>
                <a:gd name="T87" fmla="*/ 872 h 2209"/>
                <a:gd name="T88" fmla="*/ 89 w 2210"/>
                <a:gd name="T89" fmla="*/ 889 h 2209"/>
                <a:gd name="T90" fmla="*/ 0 w 2210"/>
                <a:gd name="T91" fmla="*/ 990 h 2209"/>
                <a:gd name="T92" fmla="*/ 0 w 2210"/>
                <a:gd name="T93" fmla="*/ 1228 h 2209"/>
                <a:gd name="T94" fmla="*/ 89 w 2210"/>
                <a:gd name="T95" fmla="*/ 1329 h 2209"/>
                <a:gd name="T96" fmla="*/ 244 w 2210"/>
                <a:gd name="T97" fmla="*/ 1347 h 2209"/>
                <a:gd name="T98" fmla="*/ 1110 w 2210"/>
                <a:gd name="T99" fmla="*/ 701 h 2209"/>
                <a:gd name="T100" fmla="*/ 1504 w 2210"/>
                <a:gd name="T101" fmla="*/ 1096 h 2209"/>
                <a:gd name="T102" fmla="*/ 1110 w 2210"/>
                <a:gd name="T103" fmla="*/ 1490 h 2209"/>
                <a:gd name="T104" fmla="*/ 715 w 2210"/>
                <a:gd name="T105" fmla="*/ 1096 h 2209"/>
                <a:gd name="T106" fmla="*/ 1110 w 2210"/>
                <a:gd name="T107" fmla="*/ 701 h 2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0" h="2209">
                  <a:moveTo>
                    <a:pt x="244" y="1347"/>
                  </a:moveTo>
                  <a:cubicBezTo>
                    <a:pt x="264" y="1414"/>
                    <a:pt x="291" y="1479"/>
                    <a:pt x="326" y="1540"/>
                  </a:cubicBezTo>
                  <a:cubicBezTo>
                    <a:pt x="228" y="1663"/>
                    <a:pt x="228" y="1663"/>
                    <a:pt x="228" y="1663"/>
                  </a:cubicBezTo>
                  <a:cubicBezTo>
                    <a:pt x="196" y="1704"/>
                    <a:pt x="199" y="1761"/>
                    <a:pt x="235" y="1798"/>
                  </a:cubicBezTo>
                  <a:cubicBezTo>
                    <a:pt x="404" y="1966"/>
                    <a:pt x="404" y="1966"/>
                    <a:pt x="404" y="1966"/>
                  </a:cubicBezTo>
                  <a:cubicBezTo>
                    <a:pt x="440" y="2003"/>
                    <a:pt x="498" y="2006"/>
                    <a:pt x="538" y="1974"/>
                  </a:cubicBezTo>
                  <a:cubicBezTo>
                    <a:pt x="661" y="1877"/>
                    <a:pt x="661" y="1877"/>
                    <a:pt x="661" y="1877"/>
                  </a:cubicBezTo>
                  <a:cubicBezTo>
                    <a:pt x="724" y="1913"/>
                    <a:pt x="792" y="1942"/>
                    <a:pt x="862" y="1962"/>
                  </a:cubicBezTo>
                  <a:cubicBezTo>
                    <a:pt x="880" y="2120"/>
                    <a:pt x="880" y="2120"/>
                    <a:pt x="880" y="2120"/>
                  </a:cubicBezTo>
                  <a:cubicBezTo>
                    <a:pt x="886" y="2171"/>
                    <a:pt x="929" y="2209"/>
                    <a:pt x="980" y="2209"/>
                  </a:cubicBezTo>
                  <a:cubicBezTo>
                    <a:pt x="1219" y="2209"/>
                    <a:pt x="1219" y="2209"/>
                    <a:pt x="1219" y="2209"/>
                  </a:cubicBezTo>
                  <a:cubicBezTo>
                    <a:pt x="1270" y="2209"/>
                    <a:pt x="1314" y="2171"/>
                    <a:pt x="1320" y="2120"/>
                  </a:cubicBezTo>
                  <a:cubicBezTo>
                    <a:pt x="1337" y="1967"/>
                    <a:pt x="1337" y="1967"/>
                    <a:pt x="1337" y="1967"/>
                  </a:cubicBezTo>
                  <a:cubicBezTo>
                    <a:pt x="1412" y="1948"/>
                    <a:pt x="1484" y="1918"/>
                    <a:pt x="1552" y="1880"/>
                  </a:cubicBezTo>
                  <a:cubicBezTo>
                    <a:pt x="1671" y="1974"/>
                    <a:pt x="1671" y="1974"/>
                    <a:pt x="1671" y="1974"/>
                  </a:cubicBezTo>
                  <a:cubicBezTo>
                    <a:pt x="1711" y="2006"/>
                    <a:pt x="1769" y="2003"/>
                    <a:pt x="1805" y="1967"/>
                  </a:cubicBezTo>
                  <a:cubicBezTo>
                    <a:pt x="1974" y="1798"/>
                    <a:pt x="1974" y="1798"/>
                    <a:pt x="1974" y="1798"/>
                  </a:cubicBezTo>
                  <a:cubicBezTo>
                    <a:pt x="2010" y="1762"/>
                    <a:pt x="2014" y="1704"/>
                    <a:pt x="1982" y="1664"/>
                  </a:cubicBezTo>
                  <a:cubicBezTo>
                    <a:pt x="1889" y="1546"/>
                    <a:pt x="1889" y="1546"/>
                    <a:pt x="1889" y="1546"/>
                  </a:cubicBezTo>
                  <a:cubicBezTo>
                    <a:pt x="1928" y="1480"/>
                    <a:pt x="1958" y="1409"/>
                    <a:pt x="1978" y="1335"/>
                  </a:cubicBezTo>
                  <a:cubicBezTo>
                    <a:pt x="2120" y="1319"/>
                    <a:pt x="2120" y="1319"/>
                    <a:pt x="2120" y="1319"/>
                  </a:cubicBezTo>
                  <a:cubicBezTo>
                    <a:pt x="2171" y="1313"/>
                    <a:pt x="2210" y="1270"/>
                    <a:pt x="2210" y="1218"/>
                  </a:cubicBezTo>
                  <a:cubicBezTo>
                    <a:pt x="2210" y="980"/>
                    <a:pt x="2210" y="980"/>
                    <a:pt x="2210" y="980"/>
                  </a:cubicBezTo>
                  <a:cubicBezTo>
                    <a:pt x="2210" y="928"/>
                    <a:pt x="2171" y="885"/>
                    <a:pt x="2120" y="879"/>
                  </a:cubicBezTo>
                  <a:cubicBezTo>
                    <a:pt x="1980" y="863"/>
                    <a:pt x="1980" y="863"/>
                    <a:pt x="1980" y="863"/>
                  </a:cubicBezTo>
                  <a:cubicBezTo>
                    <a:pt x="1960" y="790"/>
                    <a:pt x="1932" y="720"/>
                    <a:pt x="1895" y="654"/>
                  </a:cubicBezTo>
                  <a:cubicBezTo>
                    <a:pt x="1981" y="545"/>
                    <a:pt x="1981" y="545"/>
                    <a:pt x="1981" y="545"/>
                  </a:cubicBezTo>
                  <a:cubicBezTo>
                    <a:pt x="2013" y="504"/>
                    <a:pt x="2010" y="447"/>
                    <a:pt x="1974" y="410"/>
                  </a:cubicBezTo>
                  <a:cubicBezTo>
                    <a:pt x="1805" y="242"/>
                    <a:pt x="1805" y="242"/>
                    <a:pt x="1805" y="242"/>
                  </a:cubicBezTo>
                  <a:cubicBezTo>
                    <a:pt x="1769" y="206"/>
                    <a:pt x="1711" y="202"/>
                    <a:pt x="1671" y="234"/>
                  </a:cubicBezTo>
                  <a:cubicBezTo>
                    <a:pt x="1565" y="318"/>
                    <a:pt x="1565" y="318"/>
                    <a:pt x="1565" y="318"/>
                  </a:cubicBezTo>
                  <a:cubicBezTo>
                    <a:pt x="1496" y="278"/>
                    <a:pt x="1422" y="247"/>
                    <a:pt x="1345" y="226"/>
                  </a:cubicBezTo>
                  <a:cubicBezTo>
                    <a:pt x="1329" y="89"/>
                    <a:pt x="1329" y="89"/>
                    <a:pt x="1329" y="89"/>
                  </a:cubicBezTo>
                  <a:cubicBezTo>
                    <a:pt x="1323" y="38"/>
                    <a:pt x="1280" y="0"/>
                    <a:pt x="1229" y="0"/>
                  </a:cubicBezTo>
                  <a:cubicBezTo>
                    <a:pt x="990" y="0"/>
                    <a:pt x="990" y="0"/>
                    <a:pt x="990" y="0"/>
                  </a:cubicBezTo>
                  <a:cubicBezTo>
                    <a:pt x="939" y="0"/>
                    <a:pt x="896" y="38"/>
                    <a:pt x="890" y="89"/>
                  </a:cubicBezTo>
                  <a:cubicBezTo>
                    <a:pt x="874" y="226"/>
                    <a:pt x="874" y="226"/>
                    <a:pt x="874" y="226"/>
                  </a:cubicBezTo>
                  <a:cubicBezTo>
                    <a:pt x="794" y="248"/>
                    <a:pt x="719" y="280"/>
                    <a:pt x="648" y="322"/>
                  </a:cubicBezTo>
                  <a:cubicBezTo>
                    <a:pt x="538" y="234"/>
                    <a:pt x="538" y="234"/>
                    <a:pt x="538" y="234"/>
                  </a:cubicBezTo>
                  <a:cubicBezTo>
                    <a:pt x="498" y="202"/>
                    <a:pt x="440" y="206"/>
                    <a:pt x="404" y="242"/>
                  </a:cubicBezTo>
                  <a:cubicBezTo>
                    <a:pt x="235" y="411"/>
                    <a:pt x="235" y="411"/>
                    <a:pt x="235" y="411"/>
                  </a:cubicBezTo>
                  <a:cubicBezTo>
                    <a:pt x="199" y="447"/>
                    <a:pt x="196" y="505"/>
                    <a:pt x="228" y="545"/>
                  </a:cubicBezTo>
                  <a:cubicBezTo>
                    <a:pt x="320" y="662"/>
                    <a:pt x="320" y="662"/>
                    <a:pt x="320" y="662"/>
                  </a:cubicBezTo>
                  <a:cubicBezTo>
                    <a:pt x="283" y="728"/>
                    <a:pt x="255" y="799"/>
                    <a:pt x="236" y="872"/>
                  </a:cubicBezTo>
                  <a:cubicBezTo>
                    <a:pt x="89" y="889"/>
                    <a:pt x="89" y="889"/>
                    <a:pt x="89" y="889"/>
                  </a:cubicBezTo>
                  <a:cubicBezTo>
                    <a:pt x="38" y="895"/>
                    <a:pt x="0" y="938"/>
                    <a:pt x="0" y="990"/>
                  </a:cubicBezTo>
                  <a:cubicBezTo>
                    <a:pt x="0" y="1228"/>
                    <a:pt x="0" y="1228"/>
                    <a:pt x="0" y="1228"/>
                  </a:cubicBezTo>
                  <a:cubicBezTo>
                    <a:pt x="0" y="1280"/>
                    <a:pt x="38" y="1323"/>
                    <a:pt x="89" y="1329"/>
                  </a:cubicBezTo>
                  <a:lnTo>
                    <a:pt x="244" y="1347"/>
                  </a:lnTo>
                  <a:close/>
                  <a:moveTo>
                    <a:pt x="1110" y="701"/>
                  </a:moveTo>
                  <a:cubicBezTo>
                    <a:pt x="1327" y="701"/>
                    <a:pt x="1504" y="878"/>
                    <a:pt x="1504" y="1096"/>
                  </a:cubicBezTo>
                  <a:cubicBezTo>
                    <a:pt x="1504" y="1313"/>
                    <a:pt x="1327" y="1490"/>
                    <a:pt x="1110" y="1490"/>
                  </a:cubicBezTo>
                  <a:cubicBezTo>
                    <a:pt x="892" y="1490"/>
                    <a:pt x="715" y="1313"/>
                    <a:pt x="715" y="1096"/>
                  </a:cubicBezTo>
                  <a:cubicBezTo>
                    <a:pt x="715" y="878"/>
                    <a:pt x="892" y="701"/>
                    <a:pt x="1110" y="701"/>
                  </a:cubicBezTo>
                  <a:close/>
                </a:path>
              </a:pathLst>
            </a:custGeom>
            <a:solidFill>
              <a:srgbClr val="90909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/>
            </a:p>
          </p:txBody>
        </p:sp>
        <p:sp>
          <p:nvSpPr>
            <p:cNvPr id="216" name="Freeform 6"/>
            <p:cNvSpPr>
              <a:spLocks noEditPoints="1"/>
            </p:cNvSpPr>
            <p:nvPr/>
          </p:nvSpPr>
          <p:spPr bwMode="auto">
            <a:xfrm>
              <a:off x="10266363" y="1162050"/>
              <a:ext cx="1852613" cy="1895475"/>
            </a:xfrm>
            <a:custGeom>
              <a:avLst/>
              <a:gdLst>
                <a:gd name="T0" fmla="*/ 1562 w 1824"/>
                <a:gd name="T1" fmla="*/ 278 h 1827"/>
                <a:gd name="T2" fmla="*/ 1436 w 1824"/>
                <a:gd name="T3" fmla="*/ 171 h 1827"/>
                <a:gd name="T4" fmla="*/ 1304 w 1824"/>
                <a:gd name="T5" fmla="*/ 175 h 1827"/>
                <a:gd name="T6" fmla="*/ 1234 w 1824"/>
                <a:gd name="T7" fmla="*/ 240 h 1827"/>
                <a:gd name="T8" fmla="*/ 1048 w 1824"/>
                <a:gd name="T9" fmla="*/ 180 h 1827"/>
                <a:gd name="T10" fmla="*/ 1029 w 1824"/>
                <a:gd name="T11" fmla="*/ 84 h 1827"/>
                <a:gd name="T12" fmla="*/ 922 w 1824"/>
                <a:gd name="T13" fmla="*/ 4 h 1827"/>
                <a:gd name="T14" fmla="*/ 758 w 1824"/>
                <a:gd name="T15" fmla="*/ 18 h 1827"/>
                <a:gd name="T16" fmla="*/ 666 w 1824"/>
                <a:gd name="T17" fmla="*/ 114 h 1827"/>
                <a:gd name="T18" fmla="*/ 663 w 1824"/>
                <a:gd name="T19" fmla="*/ 212 h 1827"/>
                <a:gd name="T20" fmla="*/ 486 w 1824"/>
                <a:gd name="T21" fmla="*/ 305 h 1827"/>
                <a:gd name="T22" fmla="*/ 403 w 1824"/>
                <a:gd name="T23" fmla="*/ 250 h 1827"/>
                <a:gd name="T24" fmla="*/ 271 w 1824"/>
                <a:gd name="T25" fmla="*/ 269 h 1827"/>
                <a:gd name="T26" fmla="*/ 165 w 1824"/>
                <a:gd name="T27" fmla="*/ 396 h 1827"/>
                <a:gd name="T28" fmla="*/ 168 w 1824"/>
                <a:gd name="T29" fmla="*/ 528 h 1827"/>
                <a:gd name="T30" fmla="*/ 241 w 1824"/>
                <a:gd name="T31" fmla="*/ 606 h 1827"/>
                <a:gd name="T32" fmla="*/ 188 w 1824"/>
                <a:gd name="T33" fmla="*/ 784 h 1827"/>
                <a:gd name="T34" fmla="*/ 84 w 1824"/>
                <a:gd name="T35" fmla="*/ 805 h 1827"/>
                <a:gd name="T36" fmla="*/ 4 w 1824"/>
                <a:gd name="T37" fmla="*/ 911 h 1827"/>
                <a:gd name="T38" fmla="*/ 18 w 1824"/>
                <a:gd name="T39" fmla="*/ 1076 h 1827"/>
                <a:gd name="T40" fmla="*/ 114 w 1824"/>
                <a:gd name="T41" fmla="*/ 1167 h 1827"/>
                <a:gd name="T42" fmla="*/ 226 w 1824"/>
                <a:gd name="T43" fmla="*/ 1171 h 1827"/>
                <a:gd name="T44" fmla="*/ 306 w 1824"/>
                <a:gd name="T45" fmla="*/ 1323 h 1827"/>
                <a:gd name="T46" fmla="*/ 243 w 1824"/>
                <a:gd name="T47" fmla="*/ 1418 h 1827"/>
                <a:gd name="T48" fmla="*/ 262 w 1824"/>
                <a:gd name="T49" fmla="*/ 1549 h 1827"/>
                <a:gd name="T50" fmla="*/ 388 w 1824"/>
                <a:gd name="T51" fmla="*/ 1656 h 1827"/>
                <a:gd name="T52" fmla="*/ 521 w 1824"/>
                <a:gd name="T53" fmla="*/ 1652 h 1827"/>
                <a:gd name="T54" fmla="*/ 603 w 1824"/>
                <a:gd name="T55" fmla="*/ 1575 h 1827"/>
                <a:gd name="T56" fmla="*/ 772 w 1824"/>
                <a:gd name="T57" fmla="*/ 1630 h 1827"/>
                <a:gd name="T58" fmla="*/ 795 w 1824"/>
                <a:gd name="T59" fmla="*/ 1743 h 1827"/>
                <a:gd name="T60" fmla="*/ 902 w 1824"/>
                <a:gd name="T61" fmla="*/ 1823 h 1827"/>
                <a:gd name="T62" fmla="*/ 1066 w 1824"/>
                <a:gd name="T63" fmla="*/ 1809 h 1827"/>
                <a:gd name="T64" fmla="*/ 1158 w 1824"/>
                <a:gd name="T65" fmla="*/ 1712 h 1827"/>
                <a:gd name="T66" fmla="*/ 1161 w 1824"/>
                <a:gd name="T67" fmla="*/ 1602 h 1827"/>
                <a:gd name="T68" fmla="*/ 1330 w 1824"/>
                <a:gd name="T69" fmla="*/ 1516 h 1827"/>
                <a:gd name="T70" fmla="*/ 1421 w 1824"/>
                <a:gd name="T71" fmla="*/ 1576 h 1827"/>
                <a:gd name="T72" fmla="*/ 1553 w 1824"/>
                <a:gd name="T73" fmla="*/ 1558 h 1827"/>
                <a:gd name="T74" fmla="*/ 1659 w 1824"/>
                <a:gd name="T75" fmla="*/ 1432 h 1827"/>
                <a:gd name="T76" fmla="*/ 1656 w 1824"/>
                <a:gd name="T77" fmla="*/ 1299 h 1827"/>
                <a:gd name="T78" fmla="*/ 1582 w 1824"/>
                <a:gd name="T79" fmla="*/ 1221 h 1827"/>
                <a:gd name="T80" fmla="*/ 1640 w 1824"/>
                <a:gd name="T81" fmla="*/ 1043 h 1827"/>
                <a:gd name="T82" fmla="*/ 1740 w 1824"/>
                <a:gd name="T83" fmla="*/ 1022 h 1827"/>
                <a:gd name="T84" fmla="*/ 1820 w 1824"/>
                <a:gd name="T85" fmla="*/ 916 h 1827"/>
                <a:gd name="T86" fmla="*/ 1806 w 1824"/>
                <a:gd name="T87" fmla="*/ 752 h 1827"/>
                <a:gd name="T88" fmla="*/ 1710 w 1824"/>
                <a:gd name="T89" fmla="*/ 660 h 1827"/>
                <a:gd name="T90" fmla="*/ 1609 w 1824"/>
                <a:gd name="T91" fmla="*/ 657 h 1827"/>
                <a:gd name="T92" fmla="*/ 1526 w 1824"/>
                <a:gd name="T93" fmla="*/ 492 h 1827"/>
                <a:gd name="T94" fmla="*/ 1580 w 1824"/>
                <a:gd name="T95" fmla="*/ 410 h 1827"/>
                <a:gd name="T96" fmla="*/ 1562 w 1824"/>
                <a:gd name="T97" fmla="*/ 278 h 1827"/>
                <a:gd name="T98" fmla="*/ 943 w 1824"/>
                <a:gd name="T99" fmla="*/ 1228 h 1827"/>
                <a:gd name="T100" fmla="*/ 594 w 1824"/>
                <a:gd name="T101" fmla="*/ 933 h 1827"/>
                <a:gd name="T102" fmla="*/ 888 w 1824"/>
                <a:gd name="T103" fmla="*/ 584 h 1827"/>
                <a:gd name="T104" fmla="*/ 1238 w 1824"/>
                <a:gd name="T105" fmla="*/ 879 h 1827"/>
                <a:gd name="T106" fmla="*/ 943 w 1824"/>
                <a:gd name="T107" fmla="*/ 1228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24" h="1827">
                  <a:moveTo>
                    <a:pt x="1562" y="278"/>
                  </a:moveTo>
                  <a:cubicBezTo>
                    <a:pt x="1436" y="171"/>
                    <a:pt x="1436" y="171"/>
                    <a:pt x="1436" y="171"/>
                  </a:cubicBezTo>
                  <a:cubicBezTo>
                    <a:pt x="1398" y="138"/>
                    <a:pt x="1340" y="140"/>
                    <a:pt x="1304" y="175"/>
                  </a:cubicBezTo>
                  <a:cubicBezTo>
                    <a:pt x="1234" y="240"/>
                    <a:pt x="1234" y="240"/>
                    <a:pt x="1234" y="240"/>
                  </a:cubicBezTo>
                  <a:cubicBezTo>
                    <a:pt x="1175" y="212"/>
                    <a:pt x="1113" y="192"/>
                    <a:pt x="1048" y="180"/>
                  </a:cubicBezTo>
                  <a:cubicBezTo>
                    <a:pt x="1029" y="84"/>
                    <a:pt x="1029" y="84"/>
                    <a:pt x="1029" y="84"/>
                  </a:cubicBezTo>
                  <a:cubicBezTo>
                    <a:pt x="1019" y="34"/>
                    <a:pt x="973" y="0"/>
                    <a:pt x="922" y="4"/>
                  </a:cubicBezTo>
                  <a:cubicBezTo>
                    <a:pt x="758" y="18"/>
                    <a:pt x="758" y="18"/>
                    <a:pt x="758" y="18"/>
                  </a:cubicBezTo>
                  <a:cubicBezTo>
                    <a:pt x="708" y="22"/>
                    <a:pt x="668" y="64"/>
                    <a:pt x="666" y="114"/>
                  </a:cubicBezTo>
                  <a:cubicBezTo>
                    <a:pt x="663" y="212"/>
                    <a:pt x="663" y="212"/>
                    <a:pt x="663" y="212"/>
                  </a:cubicBezTo>
                  <a:cubicBezTo>
                    <a:pt x="600" y="235"/>
                    <a:pt x="540" y="266"/>
                    <a:pt x="486" y="305"/>
                  </a:cubicBezTo>
                  <a:cubicBezTo>
                    <a:pt x="403" y="250"/>
                    <a:pt x="403" y="250"/>
                    <a:pt x="403" y="250"/>
                  </a:cubicBezTo>
                  <a:cubicBezTo>
                    <a:pt x="360" y="222"/>
                    <a:pt x="304" y="230"/>
                    <a:pt x="271" y="269"/>
                  </a:cubicBezTo>
                  <a:cubicBezTo>
                    <a:pt x="165" y="396"/>
                    <a:pt x="165" y="396"/>
                    <a:pt x="165" y="396"/>
                  </a:cubicBezTo>
                  <a:cubicBezTo>
                    <a:pt x="132" y="434"/>
                    <a:pt x="134" y="492"/>
                    <a:pt x="168" y="528"/>
                  </a:cubicBezTo>
                  <a:cubicBezTo>
                    <a:pt x="241" y="606"/>
                    <a:pt x="241" y="606"/>
                    <a:pt x="241" y="606"/>
                  </a:cubicBezTo>
                  <a:cubicBezTo>
                    <a:pt x="216" y="663"/>
                    <a:pt x="198" y="722"/>
                    <a:pt x="188" y="784"/>
                  </a:cubicBezTo>
                  <a:cubicBezTo>
                    <a:pt x="84" y="805"/>
                    <a:pt x="84" y="805"/>
                    <a:pt x="84" y="805"/>
                  </a:cubicBezTo>
                  <a:cubicBezTo>
                    <a:pt x="34" y="815"/>
                    <a:pt x="0" y="861"/>
                    <a:pt x="4" y="911"/>
                  </a:cubicBezTo>
                  <a:cubicBezTo>
                    <a:pt x="18" y="1076"/>
                    <a:pt x="18" y="1076"/>
                    <a:pt x="18" y="1076"/>
                  </a:cubicBezTo>
                  <a:cubicBezTo>
                    <a:pt x="22" y="1126"/>
                    <a:pt x="63" y="1166"/>
                    <a:pt x="114" y="1167"/>
                  </a:cubicBezTo>
                  <a:cubicBezTo>
                    <a:pt x="226" y="1171"/>
                    <a:pt x="226" y="1171"/>
                    <a:pt x="226" y="1171"/>
                  </a:cubicBezTo>
                  <a:cubicBezTo>
                    <a:pt x="247" y="1224"/>
                    <a:pt x="274" y="1275"/>
                    <a:pt x="306" y="1323"/>
                  </a:cubicBezTo>
                  <a:cubicBezTo>
                    <a:pt x="243" y="1418"/>
                    <a:pt x="243" y="1418"/>
                    <a:pt x="243" y="1418"/>
                  </a:cubicBezTo>
                  <a:cubicBezTo>
                    <a:pt x="215" y="1460"/>
                    <a:pt x="223" y="1516"/>
                    <a:pt x="262" y="1549"/>
                  </a:cubicBezTo>
                  <a:cubicBezTo>
                    <a:pt x="388" y="1656"/>
                    <a:pt x="388" y="1656"/>
                    <a:pt x="388" y="1656"/>
                  </a:cubicBezTo>
                  <a:cubicBezTo>
                    <a:pt x="427" y="1688"/>
                    <a:pt x="484" y="1687"/>
                    <a:pt x="521" y="1652"/>
                  </a:cubicBezTo>
                  <a:cubicBezTo>
                    <a:pt x="603" y="1575"/>
                    <a:pt x="603" y="1575"/>
                    <a:pt x="603" y="1575"/>
                  </a:cubicBezTo>
                  <a:cubicBezTo>
                    <a:pt x="657" y="1600"/>
                    <a:pt x="714" y="1619"/>
                    <a:pt x="772" y="1630"/>
                  </a:cubicBezTo>
                  <a:cubicBezTo>
                    <a:pt x="795" y="1743"/>
                    <a:pt x="795" y="1743"/>
                    <a:pt x="795" y="1743"/>
                  </a:cubicBezTo>
                  <a:cubicBezTo>
                    <a:pt x="805" y="1792"/>
                    <a:pt x="851" y="1827"/>
                    <a:pt x="902" y="1823"/>
                  </a:cubicBezTo>
                  <a:cubicBezTo>
                    <a:pt x="1066" y="1809"/>
                    <a:pt x="1066" y="1809"/>
                    <a:pt x="1066" y="1809"/>
                  </a:cubicBezTo>
                  <a:cubicBezTo>
                    <a:pt x="1116" y="1804"/>
                    <a:pt x="1156" y="1763"/>
                    <a:pt x="1158" y="1712"/>
                  </a:cubicBezTo>
                  <a:cubicBezTo>
                    <a:pt x="1161" y="1602"/>
                    <a:pt x="1161" y="1602"/>
                    <a:pt x="1161" y="1602"/>
                  </a:cubicBezTo>
                  <a:cubicBezTo>
                    <a:pt x="1221" y="1581"/>
                    <a:pt x="1278" y="1552"/>
                    <a:pt x="1330" y="1516"/>
                  </a:cubicBezTo>
                  <a:cubicBezTo>
                    <a:pt x="1421" y="1576"/>
                    <a:pt x="1421" y="1576"/>
                    <a:pt x="1421" y="1576"/>
                  </a:cubicBezTo>
                  <a:cubicBezTo>
                    <a:pt x="1464" y="1604"/>
                    <a:pt x="1520" y="1596"/>
                    <a:pt x="1553" y="1558"/>
                  </a:cubicBezTo>
                  <a:cubicBezTo>
                    <a:pt x="1659" y="1432"/>
                    <a:pt x="1659" y="1432"/>
                    <a:pt x="1659" y="1432"/>
                  </a:cubicBezTo>
                  <a:cubicBezTo>
                    <a:pt x="1692" y="1393"/>
                    <a:pt x="1690" y="1336"/>
                    <a:pt x="1656" y="1299"/>
                  </a:cubicBezTo>
                  <a:cubicBezTo>
                    <a:pt x="1582" y="1221"/>
                    <a:pt x="1582" y="1221"/>
                    <a:pt x="1582" y="1221"/>
                  </a:cubicBezTo>
                  <a:cubicBezTo>
                    <a:pt x="1609" y="1164"/>
                    <a:pt x="1629" y="1104"/>
                    <a:pt x="1640" y="1043"/>
                  </a:cubicBezTo>
                  <a:cubicBezTo>
                    <a:pt x="1740" y="1022"/>
                    <a:pt x="1740" y="1022"/>
                    <a:pt x="1740" y="1022"/>
                  </a:cubicBezTo>
                  <a:cubicBezTo>
                    <a:pt x="1790" y="1012"/>
                    <a:pt x="1824" y="966"/>
                    <a:pt x="1820" y="916"/>
                  </a:cubicBezTo>
                  <a:cubicBezTo>
                    <a:pt x="1806" y="752"/>
                    <a:pt x="1806" y="752"/>
                    <a:pt x="1806" y="752"/>
                  </a:cubicBezTo>
                  <a:cubicBezTo>
                    <a:pt x="1802" y="701"/>
                    <a:pt x="1760" y="662"/>
                    <a:pt x="1710" y="660"/>
                  </a:cubicBezTo>
                  <a:cubicBezTo>
                    <a:pt x="1609" y="657"/>
                    <a:pt x="1609" y="657"/>
                    <a:pt x="1609" y="657"/>
                  </a:cubicBezTo>
                  <a:cubicBezTo>
                    <a:pt x="1588" y="598"/>
                    <a:pt x="1560" y="543"/>
                    <a:pt x="1526" y="492"/>
                  </a:cubicBezTo>
                  <a:cubicBezTo>
                    <a:pt x="1580" y="410"/>
                    <a:pt x="1580" y="410"/>
                    <a:pt x="1580" y="410"/>
                  </a:cubicBezTo>
                  <a:cubicBezTo>
                    <a:pt x="1609" y="367"/>
                    <a:pt x="1601" y="310"/>
                    <a:pt x="1562" y="278"/>
                  </a:cubicBezTo>
                  <a:close/>
                  <a:moveTo>
                    <a:pt x="943" y="1228"/>
                  </a:moveTo>
                  <a:cubicBezTo>
                    <a:pt x="765" y="1243"/>
                    <a:pt x="608" y="1111"/>
                    <a:pt x="594" y="933"/>
                  </a:cubicBezTo>
                  <a:cubicBezTo>
                    <a:pt x="578" y="756"/>
                    <a:pt x="711" y="599"/>
                    <a:pt x="888" y="584"/>
                  </a:cubicBezTo>
                  <a:cubicBezTo>
                    <a:pt x="1066" y="569"/>
                    <a:pt x="1223" y="701"/>
                    <a:pt x="1238" y="879"/>
                  </a:cubicBezTo>
                  <a:cubicBezTo>
                    <a:pt x="1253" y="1056"/>
                    <a:pt x="1120" y="1213"/>
                    <a:pt x="943" y="1228"/>
                  </a:cubicBezTo>
                  <a:close/>
                </a:path>
              </a:pathLst>
            </a:custGeom>
            <a:solidFill>
              <a:srgbClr val="0082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/>
            </a:p>
          </p:txBody>
        </p:sp>
        <p:sp>
          <p:nvSpPr>
            <p:cNvPr id="217" name="Freeform 7"/>
            <p:cNvSpPr>
              <a:spLocks noEditPoints="1"/>
            </p:cNvSpPr>
            <p:nvPr/>
          </p:nvSpPr>
          <p:spPr bwMode="auto">
            <a:xfrm>
              <a:off x="9067800" y="2289175"/>
              <a:ext cx="1500188" cy="1531938"/>
            </a:xfrm>
            <a:custGeom>
              <a:avLst/>
              <a:gdLst>
                <a:gd name="T0" fmla="*/ 92 w 1477"/>
                <a:gd name="T1" fmla="*/ 583 h 1476"/>
                <a:gd name="T2" fmla="*/ 2 w 1477"/>
                <a:gd name="T3" fmla="*/ 682 h 1476"/>
                <a:gd name="T4" fmla="*/ 1 w 1477"/>
                <a:gd name="T5" fmla="*/ 783 h 1476"/>
                <a:gd name="T6" fmla="*/ 88 w 1477"/>
                <a:gd name="T7" fmla="*/ 883 h 1476"/>
                <a:gd name="T8" fmla="*/ 162 w 1477"/>
                <a:gd name="T9" fmla="*/ 893 h 1476"/>
                <a:gd name="T10" fmla="*/ 215 w 1477"/>
                <a:gd name="T11" fmla="*/ 1022 h 1476"/>
                <a:gd name="T12" fmla="*/ 167 w 1477"/>
                <a:gd name="T13" fmla="*/ 1081 h 1476"/>
                <a:gd name="T14" fmla="*/ 173 w 1477"/>
                <a:gd name="T15" fmla="*/ 1214 h 1476"/>
                <a:gd name="T16" fmla="*/ 244 w 1477"/>
                <a:gd name="T17" fmla="*/ 1287 h 1476"/>
                <a:gd name="T18" fmla="*/ 377 w 1477"/>
                <a:gd name="T19" fmla="*/ 1296 h 1476"/>
                <a:gd name="T20" fmla="*/ 436 w 1477"/>
                <a:gd name="T21" fmla="*/ 1250 h 1476"/>
                <a:gd name="T22" fmla="*/ 569 w 1477"/>
                <a:gd name="T23" fmla="*/ 1308 h 1476"/>
                <a:gd name="T24" fmla="*/ 577 w 1477"/>
                <a:gd name="T25" fmla="*/ 1385 h 1476"/>
                <a:gd name="T26" fmla="*/ 676 w 1477"/>
                <a:gd name="T27" fmla="*/ 1474 h 1476"/>
                <a:gd name="T28" fmla="*/ 777 w 1477"/>
                <a:gd name="T29" fmla="*/ 1475 h 1476"/>
                <a:gd name="T30" fmla="*/ 877 w 1477"/>
                <a:gd name="T31" fmla="*/ 1388 h 1476"/>
                <a:gd name="T32" fmla="*/ 886 w 1477"/>
                <a:gd name="T33" fmla="*/ 1315 h 1476"/>
                <a:gd name="T34" fmla="*/ 1030 w 1477"/>
                <a:gd name="T35" fmla="*/ 1259 h 1476"/>
                <a:gd name="T36" fmla="*/ 1086 w 1477"/>
                <a:gd name="T37" fmla="*/ 1305 h 1476"/>
                <a:gd name="T38" fmla="*/ 1219 w 1477"/>
                <a:gd name="T39" fmla="*/ 1299 h 1476"/>
                <a:gd name="T40" fmla="*/ 1292 w 1477"/>
                <a:gd name="T41" fmla="*/ 1228 h 1476"/>
                <a:gd name="T42" fmla="*/ 1301 w 1477"/>
                <a:gd name="T43" fmla="*/ 1095 h 1476"/>
                <a:gd name="T44" fmla="*/ 1258 w 1477"/>
                <a:gd name="T45" fmla="*/ 1039 h 1476"/>
                <a:gd name="T46" fmla="*/ 1319 w 1477"/>
                <a:gd name="T47" fmla="*/ 899 h 1476"/>
                <a:gd name="T48" fmla="*/ 1385 w 1477"/>
                <a:gd name="T49" fmla="*/ 893 h 1476"/>
                <a:gd name="T50" fmla="*/ 1475 w 1477"/>
                <a:gd name="T51" fmla="*/ 794 h 1476"/>
                <a:gd name="T52" fmla="*/ 1476 w 1477"/>
                <a:gd name="T53" fmla="*/ 693 h 1476"/>
                <a:gd name="T54" fmla="*/ 1389 w 1477"/>
                <a:gd name="T55" fmla="*/ 593 h 1476"/>
                <a:gd name="T56" fmla="*/ 1324 w 1477"/>
                <a:gd name="T57" fmla="*/ 584 h 1476"/>
                <a:gd name="T58" fmla="*/ 1269 w 1477"/>
                <a:gd name="T59" fmla="*/ 444 h 1476"/>
                <a:gd name="T60" fmla="*/ 1310 w 1477"/>
                <a:gd name="T61" fmla="*/ 395 h 1476"/>
                <a:gd name="T62" fmla="*/ 1304 w 1477"/>
                <a:gd name="T63" fmla="*/ 262 h 1476"/>
                <a:gd name="T64" fmla="*/ 1233 w 1477"/>
                <a:gd name="T65" fmla="*/ 189 h 1476"/>
                <a:gd name="T66" fmla="*/ 1100 w 1477"/>
                <a:gd name="T67" fmla="*/ 180 h 1476"/>
                <a:gd name="T68" fmla="*/ 1052 w 1477"/>
                <a:gd name="T69" fmla="*/ 217 h 1476"/>
                <a:gd name="T70" fmla="*/ 906 w 1477"/>
                <a:gd name="T71" fmla="*/ 154 h 1476"/>
                <a:gd name="T72" fmla="*/ 900 w 1477"/>
                <a:gd name="T73" fmla="*/ 91 h 1476"/>
                <a:gd name="T74" fmla="*/ 801 w 1477"/>
                <a:gd name="T75" fmla="*/ 2 h 1476"/>
                <a:gd name="T76" fmla="*/ 700 w 1477"/>
                <a:gd name="T77" fmla="*/ 1 h 1476"/>
                <a:gd name="T78" fmla="*/ 600 w 1477"/>
                <a:gd name="T79" fmla="*/ 88 h 1476"/>
                <a:gd name="T80" fmla="*/ 592 w 1477"/>
                <a:gd name="T81" fmla="*/ 150 h 1476"/>
                <a:gd name="T82" fmla="*/ 441 w 1477"/>
                <a:gd name="T83" fmla="*/ 212 h 1476"/>
                <a:gd name="T84" fmla="*/ 391 w 1477"/>
                <a:gd name="T85" fmla="*/ 171 h 1476"/>
                <a:gd name="T86" fmla="*/ 258 w 1477"/>
                <a:gd name="T87" fmla="*/ 177 h 1476"/>
                <a:gd name="T88" fmla="*/ 185 w 1477"/>
                <a:gd name="T89" fmla="*/ 248 h 1476"/>
                <a:gd name="T90" fmla="*/ 176 w 1477"/>
                <a:gd name="T91" fmla="*/ 381 h 1476"/>
                <a:gd name="T92" fmla="*/ 219 w 1477"/>
                <a:gd name="T93" fmla="*/ 436 h 1476"/>
                <a:gd name="T94" fmla="*/ 162 w 1477"/>
                <a:gd name="T95" fmla="*/ 576 h 1476"/>
                <a:gd name="T96" fmla="*/ 92 w 1477"/>
                <a:gd name="T97" fmla="*/ 583 h 1476"/>
                <a:gd name="T98" fmla="*/ 745 w 1477"/>
                <a:gd name="T99" fmla="*/ 469 h 1476"/>
                <a:gd name="T100" fmla="*/ 1005 w 1477"/>
                <a:gd name="T101" fmla="*/ 735 h 1476"/>
                <a:gd name="T102" fmla="*/ 738 w 1477"/>
                <a:gd name="T103" fmla="*/ 995 h 1476"/>
                <a:gd name="T104" fmla="*/ 478 w 1477"/>
                <a:gd name="T105" fmla="*/ 729 h 1476"/>
                <a:gd name="T106" fmla="*/ 745 w 1477"/>
                <a:gd name="T107" fmla="*/ 469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77" h="1476">
                  <a:moveTo>
                    <a:pt x="92" y="583"/>
                  </a:moveTo>
                  <a:cubicBezTo>
                    <a:pt x="41" y="589"/>
                    <a:pt x="2" y="631"/>
                    <a:pt x="2" y="682"/>
                  </a:cubicBezTo>
                  <a:cubicBezTo>
                    <a:pt x="1" y="783"/>
                    <a:pt x="1" y="783"/>
                    <a:pt x="1" y="783"/>
                  </a:cubicBezTo>
                  <a:cubicBezTo>
                    <a:pt x="0" y="834"/>
                    <a:pt x="38" y="877"/>
                    <a:pt x="88" y="883"/>
                  </a:cubicBezTo>
                  <a:cubicBezTo>
                    <a:pt x="162" y="893"/>
                    <a:pt x="162" y="893"/>
                    <a:pt x="162" y="893"/>
                  </a:cubicBezTo>
                  <a:cubicBezTo>
                    <a:pt x="175" y="938"/>
                    <a:pt x="192" y="981"/>
                    <a:pt x="215" y="1022"/>
                  </a:cubicBezTo>
                  <a:cubicBezTo>
                    <a:pt x="167" y="1081"/>
                    <a:pt x="167" y="1081"/>
                    <a:pt x="167" y="1081"/>
                  </a:cubicBezTo>
                  <a:cubicBezTo>
                    <a:pt x="135" y="1121"/>
                    <a:pt x="138" y="1178"/>
                    <a:pt x="173" y="1214"/>
                  </a:cubicBezTo>
                  <a:cubicBezTo>
                    <a:pt x="244" y="1287"/>
                    <a:pt x="244" y="1287"/>
                    <a:pt x="244" y="1287"/>
                  </a:cubicBezTo>
                  <a:cubicBezTo>
                    <a:pt x="280" y="1323"/>
                    <a:pt x="336" y="1327"/>
                    <a:pt x="377" y="1296"/>
                  </a:cubicBezTo>
                  <a:cubicBezTo>
                    <a:pt x="436" y="1250"/>
                    <a:pt x="436" y="1250"/>
                    <a:pt x="436" y="1250"/>
                  </a:cubicBezTo>
                  <a:cubicBezTo>
                    <a:pt x="478" y="1275"/>
                    <a:pt x="523" y="1294"/>
                    <a:pt x="569" y="1308"/>
                  </a:cubicBezTo>
                  <a:cubicBezTo>
                    <a:pt x="577" y="1385"/>
                    <a:pt x="577" y="1385"/>
                    <a:pt x="577" y="1385"/>
                  </a:cubicBezTo>
                  <a:cubicBezTo>
                    <a:pt x="582" y="1435"/>
                    <a:pt x="625" y="1474"/>
                    <a:pt x="676" y="1474"/>
                  </a:cubicBezTo>
                  <a:cubicBezTo>
                    <a:pt x="777" y="1475"/>
                    <a:pt x="777" y="1475"/>
                    <a:pt x="777" y="1475"/>
                  </a:cubicBezTo>
                  <a:cubicBezTo>
                    <a:pt x="828" y="1476"/>
                    <a:pt x="871" y="1439"/>
                    <a:pt x="877" y="1388"/>
                  </a:cubicBezTo>
                  <a:cubicBezTo>
                    <a:pt x="886" y="1315"/>
                    <a:pt x="886" y="1315"/>
                    <a:pt x="886" y="1315"/>
                  </a:cubicBezTo>
                  <a:cubicBezTo>
                    <a:pt x="937" y="1303"/>
                    <a:pt x="985" y="1284"/>
                    <a:pt x="1030" y="1259"/>
                  </a:cubicBezTo>
                  <a:cubicBezTo>
                    <a:pt x="1086" y="1305"/>
                    <a:pt x="1086" y="1305"/>
                    <a:pt x="1086" y="1305"/>
                  </a:cubicBezTo>
                  <a:cubicBezTo>
                    <a:pt x="1126" y="1337"/>
                    <a:pt x="1183" y="1334"/>
                    <a:pt x="1219" y="1299"/>
                  </a:cubicBezTo>
                  <a:cubicBezTo>
                    <a:pt x="1292" y="1228"/>
                    <a:pt x="1292" y="1228"/>
                    <a:pt x="1292" y="1228"/>
                  </a:cubicBezTo>
                  <a:cubicBezTo>
                    <a:pt x="1328" y="1192"/>
                    <a:pt x="1332" y="1135"/>
                    <a:pt x="1301" y="1095"/>
                  </a:cubicBezTo>
                  <a:cubicBezTo>
                    <a:pt x="1258" y="1039"/>
                    <a:pt x="1258" y="1039"/>
                    <a:pt x="1258" y="1039"/>
                  </a:cubicBezTo>
                  <a:cubicBezTo>
                    <a:pt x="1284" y="995"/>
                    <a:pt x="1305" y="949"/>
                    <a:pt x="1319" y="899"/>
                  </a:cubicBezTo>
                  <a:cubicBezTo>
                    <a:pt x="1385" y="893"/>
                    <a:pt x="1385" y="893"/>
                    <a:pt x="1385" y="893"/>
                  </a:cubicBezTo>
                  <a:cubicBezTo>
                    <a:pt x="1436" y="887"/>
                    <a:pt x="1474" y="845"/>
                    <a:pt x="1475" y="794"/>
                  </a:cubicBezTo>
                  <a:cubicBezTo>
                    <a:pt x="1476" y="693"/>
                    <a:pt x="1476" y="693"/>
                    <a:pt x="1476" y="693"/>
                  </a:cubicBezTo>
                  <a:cubicBezTo>
                    <a:pt x="1477" y="642"/>
                    <a:pt x="1439" y="599"/>
                    <a:pt x="1389" y="593"/>
                  </a:cubicBezTo>
                  <a:cubicBezTo>
                    <a:pt x="1324" y="584"/>
                    <a:pt x="1324" y="584"/>
                    <a:pt x="1324" y="584"/>
                  </a:cubicBezTo>
                  <a:cubicBezTo>
                    <a:pt x="1312" y="535"/>
                    <a:pt x="1293" y="488"/>
                    <a:pt x="1269" y="444"/>
                  </a:cubicBezTo>
                  <a:cubicBezTo>
                    <a:pt x="1310" y="395"/>
                    <a:pt x="1310" y="395"/>
                    <a:pt x="1310" y="395"/>
                  </a:cubicBezTo>
                  <a:cubicBezTo>
                    <a:pt x="1342" y="355"/>
                    <a:pt x="1339" y="298"/>
                    <a:pt x="1304" y="262"/>
                  </a:cubicBezTo>
                  <a:cubicBezTo>
                    <a:pt x="1233" y="189"/>
                    <a:pt x="1233" y="189"/>
                    <a:pt x="1233" y="189"/>
                  </a:cubicBezTo>
                  <a:cubicBezTo>
                    <a:pt x="1197" y="153"/>
                    <a:pt x="1140" y="149"/>
                    <a:pt x="1100" y="180"/>
                  </a:cubicBezTo>
                  <a:cubicBezTo>
                    <a:pt x="1052" y="217"/>
                    <a:pt x="1052" y="217"/>
                    <a:pt x="1052" y="217"/>
                  </a:cubicBezTo>
                  <a:cubicBezTo>
                    <a:pt x="1006" y="190"/>
                    <a:pt x="957" y="169"/>
                    <a:pt x="906" y="154"/>
                  </a:cubicBezTo>
                  <a:cubicBezTo>
                    <a:pt x="900" y="91"/>
                    <a:pt x="900" y="91"/>
                    <a:pt x="900" y="91"/>
                  </a:cubicBezTo>
                  <a:cubicBezTo>
                    <a:pt x="894" y="41"/>
                    <a:pt x="852" y="2"/>
                    <a:pt x="801" y="2"/>
                  </a:cubicBezTo>
                  <a:cubicBezTo>
                    <a:pt x="700" y="1"/>
                    <a:pt x="700" y="1"/>
                    <a:pt x="700" y="1"/>
                  </a:cubicBezTo>
                  <a:cubicBezTo>
                    <a:pt x="649" y="0"/>
                    <a:pt x="606" y="37"/>
                    <a:pt x="600" y="88"/>
                  </a:cubicBezTo>
                  <a:cubicBezTo>
                    <a:pt x="592" y="150"/>
                    <a:pt x="592" y="150"/>
                    <a:pt x="592" y="150"/>
                  </a:cubicBezTo>
                  <a:cubicBezTo>
                    <a:pt x="539" y="164"/>
                    <a:pt x="488" y="185"/>
                    <a:pt x="441" y="212"/>
                  </a:cubicBezTo>
                  <a:cubicBezTo>
                    <a:pt x="391" y="171"/>
                    <a:pt x="391" y="171"/>
                    <a:pt x="391" y="171"/>
                  </a:cubicBezTo>
                  <a:cubicBezTo>
                    <a:pt x="351" y="139"/>
                    <a:pt x="294" y="141"/>
                    <a:pt x="258" y="177"/>
                  </a:cubicBezTo>
                  <a:cubicBezTo>
                    <a:pt x="185" y="248"/>
                    <a:pt x="185" y="248"/>
                    <a:pt x="185" y="248"/>
                  </a:cubicBezTo>
                  <a:cubicBezTo>
                    <a:pt x="149" y="284"/>
                    <a:pt x="145" y="341"/>
                    <a:pt x="176" y="381"/>
                  </a:cubicBezTo>
                  <a:cubicBezTo>
                    <a:pt x="219" y="436"/>
                    <a:pt x="219" y="436"/>
                    <a:pt x="219" y="436"/>
                  </a:cubicBezTo>
                  <a:cubicBezTo>
                    <a:pt x="194" y="480"/>
                    <a:pt x="174" y="527"/>
                    <a:pt x="162" y="576"/>
                  </a:cubicBezTo>
                  <a:lnTo>
                    <a:pt x="92" y="583"/>
                  </a:lnTo>
                  <a:close/>
                  <a:moveTo>
                    <a:pt x="745" y="469"/>
                  </a:moveTo>
                  <a:cubicBezTo>
                    <a:pt x="890" y="471"/>
                    <a:pt x="1006" y="590"/>
                    <a:pt x="1005" y="735"/>
                  </a:cubicBezTo>
                  <a:cubicBezTo>
                    <a:pt x="1003" y="881"/>
                    <a:pt x="884" y="997"/>
                    <a:pt x="738" y="995"/>
                  </a:cubicBezTo>
                  <a:cubicBezTo>
                    <a:pt x="593" y="994"/>
                    <a:pt x="477" y="874"/>
                    <a:pt x="478" y="729"/>
                  </a:cubicBezTo>
                  <a:cubicBezTo>
                    <a:pt x="480" y="584"/>
                    <a:pt x="600" y="467"/>
                    <a:pt x="745" y="4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/>
            </a:p>
          </p:txBody>
        </p:sp>
      </p:grpSp>
      <p:sp>
        <p:nvSpPr>
          <p:cNvPr id="219" name="Freeform 7"/>
          <p:cNvSpPr>
            <a:spLocks noEditPoints="1"/>
          </p:cNvSpPr>
          <p:nvPr userDrawn="1"/>
        </p:nvSpPr>
        <p:spPr bwMode="auto">
          <a:xfrm>
            <a:off x="11255210" y="494895"/>
            <a:ext cx="755979" cy="771979"/>
          </a:xfrm>
          <a:custGeom>
            <a:avLst/>
            <a:gdLst>
              <a:gd name="T0" fmla="*/ 92 w 1477"/>
              <a:gd name="T1" fmla="*/ 583 h 1476"/>
              <a:gd name="T2" fmla="*/ 2 w 1477"/>
              <a:gd name="T3" fmla="*/ 682 h 1476"/>
              <a:gd name="T4" fmla="*/ 1 w 1477"/>
              <a:gd name="T5" fmla="*/ 783 h 1476"/>
              <a:gd name="T6" fmla="*/ 88 w 1477"/>
              <a:gd name="T7" fmla="*/ 883 h 1476"/>
              <a:gd name="T8" fmla="*/ 162 w 1477"/>
              <a:gd name="T9" fmla="*/ 893 h 1476"/>
              <a:gd name="T10" fmla="*/ 215 w 1477"/>
              <a:gd name="T11" fmla="*/ 1022 h 1476"/>
              <a:gd name="T12" fmla="*/ 167 w 1477"/>
              <a:gd name="T13" fmla="*/ 1081 h 1476"/>
              <a:gd name="T14" fmla="*/ 173 w 1477"/>
              <a:gd name="T15" fmla="*/ 1214 h 1476"/>
              <a:gd name="T16" fmla="*/ 244 w 1477"/>
              <a:gd name="T17" fmla="*/ 1287 h 1476"/>
              <a:gd name="T18" fmla="*/ 377 w 1477"/>
              <a:gd name="T19" fmla="*/ 1296 h 1476"/>
              <a:gd name="T20" fmla="*/ 436 w 1477"/>
              <a:gd name="T21" fmla="*/ 1250 h 1476"/>
              <a:gd name="T22" fmla="*/ 569 w 1477"/>
              <a:gd name="T23" fmla="*/ 1308 h 1476"/>
              <a:gd name="T24" fmla="*/ 577 w 1477"/>
              <a:gd name="T25" fmla="*/ 1385 h 1476"/>
              <a:gd name="T26" fmla="*/ 676 w 1477"/>
              <a:gd name="T27" fmla="*/ 1474 h 1476"/>
              <a:gd name="T28" fmla="*/ 777 w 1477"/>
              <a:gd name="T29" fmla="*/ 1475 h 1476"/>
              <a:gd name="T30" fmla="*/ 877 w 1477"/>
              <a:gd name="T31" fmla="*/ 1388 h 1476"/>
              <a:gd name="T32" fmla="*/ 886 w 1477"/>
              <a:gd name="T33" fmla="*/ 1315 h 1476"/>
              <a:gd name="T34" fmla="*/ 1030 w 1477"/>
              <a:gd name="T35" fmla="*/ 1259 h 1476"/>
              <a:gd name="T36" fmla="*/ 1086 w 1477"/>
              <a:gd name="T37" fmla="*/ 1305 h 1476"/>
              <a:gd name="T38" fmla="*/ 1219 w 1477"/>
              <a:gd name="T39" fmla="*/ 1299 h 1476"/>
              <a:gd name="T40" fmla="*/ 1292 w 1477"/>
              <a:gd name="T41" fmla="*/ 1228 h 1476"/>
              <a:gd name="T42" fmla="*/ 1301 w 1477"/>
              <a:gd name="T43" fmla="*/ 1095 h 1476"/>
              <a:gd name="T44" fmla="*/ 1258 w 1477"/>
              <a:gd name="T45" fmla="*/ 1039 h 1476"/>
              <a:gd name="T46" fmla="*/ 1319 w 1477"/>
              <a:gd name="T47" fmla="*/ 899 h 1476"/>
              <a:gd name="T48" fmla="*/ 1385 w 1477"/>
              <a:gd name="T49" fmla="*/ 893 h 1476"/>
              <a:gd name="T50" fmla="*/ 1475 w 1477"/>
              <a:gd name="T51" fmla="*/ 794 h 1476"/>
              <a:gd name="T52" fmla="*/ 1476 w 1477"/>
              <a:gd name="T53" fmla="*/ 693 h 1476"/>
              <a:gd name="T54" fmla="*/ 1389 w 1477"/>
              <a:gd name="T55" fmla="*/ 593 h 1476"/>
              <a:gd name="T56" fmla="*/ 1324 w 1477"/>
              <a:gd name="T57" fmla="*/ 584 h 1476"/>
              <a:gd name="T58" fmla="*/ 1269 w 1477"/>
              <a:gd name="T59" fmla="*/ 444 h 1476"/>
              <a:gd name="T60" fmla="*/ 1310 w 1477"/>
              <a:gd name="T61" fmla="*/ 395 h 1476"/>
              <a:gd name="T62" fmla="*/ 1304 w 1477"/>
              <a:gd name="T63" fmla="*/ 262 h 1476"/>
              <a:gd name="T64" fmla="*/ 1233 w 1477"/>
              <a:gd name="T65" fmla="*/ 189 h 1476"/>
              <a:gd name="T66" fmla="*/ 1100 w 1477"/>
              <a:gd name="T67" fmla="*/ 180 h 1476"/>
              <a:gd name="T68" fmla="*/ 1052 w 1477"/>
              <a:gd name="T69" fmla="*/ 217 h 1476"/>
              <a:gd name="T70" fmla="*/ 906 w 1477"/>
              <a:gd name="T71" fmla="*/ 154 h 1476"/>
              <a:gd name="T72" fmla="*/ 900 w 1477"/>
              <a:gd name="T73" fmla="*/ 91 h 1476"/>
              <a:gd name="T74" fmla="*/ 801 w 1477"/>
              <a:gd name="T75" fmla="*/ 2 h 1476"/>
              <a:gd name="T76" fmla="*/ 700 w 1477"/>
              <a:gd name="T77" fmla="*/ 1 h 1476"/>
              <a:gd name="T78" fmla="*/ 600 w 1477"/>
              <a:gd name="T79" fmla="*/ 88 h 1476"/>
              <a:gd name="T80" fmla="*/ 592 w 1477"/>
              <a:gd name="T81" fmla="*/ 150 h 1476"/>
              <a:gd name="T82" fmla="*/ 441 w 1477"/>
              <a:gd name="T83" fmla="*/ 212 h 1476"/>
              <a:gd name="T84" fmla="*/ 391 w 1477"/>
              <a:gd name="T85" fmla="*/ 171 h 1476"/>
              <a:gd name="T86" fmla="*/ 258 w 1477"/>
              <a:gd name="T87" fmla="*/ 177 h 1476"/>
              <a:gd name="T88" fmla="*/ 185 w 1477"/>
              <a:gd name="T89" fmla="*/ 248 h 1476"/>
              <a:gd name="T90" fmla="*/ 176 w 1477"/>
              <a:gd name="T91" fmla="*/ 381 h 1476"/>
              <a:gd name="T92" fmla="*/ 219 w 1477"/>
              <a:gd name="T93" fmla="*/ 436 h 1476"/>
              <a:gd name="T94" fmla="*/ 162 w 1477"/>
              <a:gd name="T95" fmla="*/ 576 h 1476"/>
              <a:gd name="T96" fmla="*/ 92 w 1477"/>
              <a:gd name="T97" fmla="*/ 583 h 1476"/>
              <a:gd name="T98" fmla="*/ 745 w 1477"/>
              <a:gd name="T99" fmla="*/ 469 h 1476"/>
              <a:gd name="T100" fmla="*/ 1005 w 1477"/>
              <a:gd name="T101" fmla="*/ 735 h 1476"/>
              <a:gd name="T102" fmla="*/ 738 w 1477"/>
              <a:gd name="T103" fmla="*/ 995 h 1476"/>
              <a:gd name="T104" fmla="*/ 478 w 1477"/>
              <a:gd name="T105" fmla="*/ 729 h 1476"/>
              <a:gd name="T106" fmla="*/ 745 w 1477"/>
              <a:gd name="T107" fmla="*/ 469 h 1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77" h="1476">
                <a:moveTo>
                  <a:pt x="92" y="583"/>
                </a:moveTo>
                <a:cubicBezTo>
                  <a:pt x="41" y="589"/>
                  <a:pt x="2" y="631"/>
                  <a:pt x="2" y="682"/>
                </a:cubicBezTo>
                <a:cubicBezTo>
                  <a:pt x="1" y="783"/>
                  <a:pt x="1" y="783"/>
                  <a:pt x="1" y="783"/>
                </a:cubicBezTo>
                <a:cubicBezTo>
                  <a:pt x="0" y="834"/>
                  <a:pt x="38" y="877"/>
                  <a:pt x="88" y="883"/>
                </a:cubicBezTo>
                <a:cubicBezTo>
                  <a:pt x="162" y="893"/>
                  <a:pt x="162" y="893"/>
                  <a:pt x="162" y="893"/>
                </a:cubicBezTo>
                <a:cubicBezTo>
                  <a:pt x="175" y="938"/>
                  <a:pt x="192" y="981"/>
                  <a:pt x="215" y="1022"/>
                </a:cubicBezTo>
                <a:cubicBezTo>
                  <a:pt x="167" y="1081"/>
                  <a:pt x="167" y="1081"/>
                  <a:pt x="167" y="1081"/>
                </a:cubicBezTo>
                <a:cubicBezTo>
                  <a:pt x="135" y="1121"/>
                  <a:pt x="138" y="1178"/>
                  <a:pt x="173" y="1214"/>
                </a:cubicBezTo>
                <a:cubicBezTo>
                  <a:pt x="244" y="1287"/>
                  <a:pt x="244" y="1287"/>
                  <a:pt x="244" y="1287"/>
                </a:cubicBezTo>
                <a:cubicBezTo>
                  <a:pt x="280" y="1323"/>
                  <a:pt x="336" y="1327"/>
                  <a:pt x="377" y="1296"/>
                </a:cubicBezTo>
                <a:cubicBezTo>
                  <a:pt x="436" y="1250"/>
                  <a:pt x="436" y="1250"/>
                  <a:pt x="436" y="1250"/>
                </a:cubicBezTo>
                <a:cubicBezTo>
                  <a:pt x="478" y="1275"/>
                  <a:pt x="523" y="1294"/>
                  <a:pt x="569" y="1308"/>
                </a:cubicBezTo>
                <a:cubicBezTo>
                  <a:pt x="577" y="1385"/>
                  <a:pt x="577" y="1385"/>
                  <a:pt x="577" y="1385"/>
                </a:cubicBezTo>
                <a:cubicBezTo>
                  <a:pt x="582" y="1435"/>
                  <a:pt x="625" y="1474"/>
                  <a:pt x="676" y="1474"/>
                </a:cubicBezTo>
                <a:cubicBezTo>
                  <a:pt x="777" y="1475"/>
                  <a:pt x="777" y="1475"/>
                  <a:pt x="777" y="1475"/>
                </a:cubicBezTo>
                <a:cubicBezTo>
                  <a:pt x="828" y="1476"/>
                  <a:pt x="871" y="1439"/>
                  <a:pt x="877" y="1388"/>
                </a:cubicBezTo>
                <a:cubicBezTo>
                  <a:pt x="886" y="1315"/>
                  <a:pt x="886" y="1315"/>
                  <a:pt x="886" y="1315"/>
                </a:cubicBezTo>
                <a:cubicBezTo>
                  <a:pt x="937" y="1303"/>
                  <a:pt x="985" y="1284"/>
                  <a:pt x="1030" y="1259"/>
                </a:cubicBezTo>
                <a:cubicBezTo>
                  <a:pt x="1086" y="1305"/>
                  <a:pt x="1086" y="1305"/>
                  <a:pt x="1086" y="1305"/>
                </a:cubicBezTo>
                <a:cubicBezTo>
                  <a:pt x="1126" y="1337"/>
                  <a:pt x="1183" y="1334"/>
                  <a:pt x="1219" y="1299"/>
                </a:cubicBezTo>
                <a:cubicBezTo>
                  <a:pt x="1292" y="1228"/>
                  <a:pt x="1292" y="1228"/>
                  <a:pt x="1292" y="1228"/>
                </a:cubicBezTo>
                <a:cubicBezTo>
                  <a:pt x="1328" y="1192"/>
                  <a:pt x="1332" y="1135"/>
                  <a:pt x="1301" y="1095"/>
                </a:cubicBezTo>
                <a:cubicBezTo>
                  <a:pt x="1258" y="1039"/>
                  <a:pt x="1258" y="1039"/>
                  <a:pt x="1258" y="1039"/>
                </a:cubicBezTo>
                <a:cubicBezTo>
                  <a:pt x="1284" y="995"/>
                  <a:pt x="1305" y="949"/>
                  <a:pt x="1319" y="899"/>
                </a:cubicBezTo>
                <a:cubicBezTo>
                  <a:pt x="1385" y="893"/>
                  <a:pt x="1385" y="893"/>
                  <a:pt x="1385" y="893"/>
                </a:cubicBezTo>
                <a:cubicBezTo>
                  <a:pt x="1436" y="887"/>
                  <a:pt x="1474" y="845"/>
                  <a:pt x="1475" y="794"/>
                </a:cubicBezTo>
                <a:cubicBezTo>
                  <a:pt x="1476" y="693"/>
                  <a:pt x="1476" y="693"/>
                  <a:pt x="1476" y="693"/>
                </a:cubicBezTo>
                <a:cubicBezTo>
                  <a:pt x="1477" y="642"/>
                  <a:pt x="1439" y="599"/>
                  <a:pt x="1389" y="593"/>
                </a:cubicBezTo>
                <a:cubicBezTo>
                  <a:pt x="1324" y="584"/>
                  <a:pt x="1324" y="584"/>
                  <a:pt x="1324" y="584"/>
                </a:cubicBezTo>
                <a:cubicBezTo>
                  <a:pt x="1312" y="535"/>
                  <a:pt x="1293" y="488"/>
                  <a:pt x="1269" y="444"/>
                </a:cubicBezTo>
                <a:cubicBezTo>
                  <a:pt x="1310" y="395"/>
                  <a:pt x="1310" y="395"/>
                  <a:pt x="1310" y="395"/>
                </a:cubicBezTo>
                <a:cubicBezTo>
                  <a:pt x="1342" y="355"/>
                  <a:pt x="1339" y="298"/>
                  <a:pt x="1304" y="262"/>
                </a:cubicBezTo>
                <a:cubicBezTo>
                  <a:pt x="1233" y="189"/>
                  <a:pt x="1233" y="189"/>
                  <a:pt x="1233" y="189"/>
                </a:cubicBezTo>
                <a:cubicBezTo>
                  <a:pt x="1197" y="153"/>
                  <a:pt x="1140" y="149"/>
                  <a:pt x="1100" y="180"/>
                </a:cubicBezTo>
                <a:cubicBezTo>
                  <a:pt x="1052" y="217"/>
                  <a:pt x="1052" y="217"/>
                  <a:pt x="1052" y="217"/>
                </a:cubicBezTo>
                <a:cubicBezTo>
                  <a:pt x="1006" y="190"/>
                  <a:pt x="957" y="169"/>
                  <a:pt x="906" y="154"/>
                </a:cubicBezTo>
                <a:cubicBezTo>
                  <a:pt x="900" y="91"/>
                  <a:pt x="900" y="91"/>
                  <a:pt x="900" y="91"/>
                </a:cubicBezTo>
                <a:cubicBezTo>
                  <a:pt x="894" y="41"/>
                  <a:pt x="852" y="2"/>
                  <a:pt x="801" y="2"/>
                </a:cubicBezTo>
                <a:cubicBezTo>
                  <a:pt x="700" y="1"/>
                  <a:pt x="700" y="1"/>
                  <a:pt x="700" y="1"/>
                </a:cubicBezTo>
                <a:cubicBezTo>
                  <a:pt x="649" y="0"/>
                  <a:pt x="606" y="37"/>
                  <a:pt x="600" y="88"/>
                </a:cubicBezTo>
                <a:cubicBezTo>
                  <a:pt x="592" y="150"/>
                  <a:pt x="592" y="150"/>
                  <a:pt x="592" y="150"/>
                </a:cubicBezTo>
                <a:cubicBezTo>
                  <a:pt x="539" y="164"/>
                  <a:pt x="488" y="185"/>
                  <a:pt x="441" y="212"/>
                </a:cubicBezTo>
                <a:cubicBezTo>
                  <a:pt x="391" y="171"/>
                  <a:pt x="391" y="171"/>
                  <a:pt x="391" y="171"/>
                </a:cubicBezTo>
                <a:cubicBezTo>
                  <a:pt x="351" y="139"/>
                  <a:pt x="294" y="141"/>
                  <a:pt x="258" y="177"/>
                </a:cubicBezTo>
                <a:cubicBezTo>
                  <a:pt x="185" y="248"/>
                  <a:pt x="185" y="248"/>
                  <a:pt x="185" y="248"/>
                </a:cubicBezTo>
                <a:cubicBezTo>
                  <a:pt x="149" y="284"/>
                  <a:pt x="145" y="341"/>
                  <a:pt x="176" y="381"/>
                </a:cubicBezTo>
                <a:cubicBezTo>
                  <a:pt x="219" y="436"/>
                  <a:pt x="219" y="436"/>
                  <a:pt x="219" y="436"/>
                </a:cubicBezTo>
                <a:cubicBezTo>
                  <a:pt x="194" y="480"/>
                  <a:pt x="174" y="527"/>
                  <a:pt x="162" y="576"/>
                </a:cubicBezTo>
                <a:lnTo>
                  <a:pt x="92" y="583"/>
                </a:lnTo>
                <a:close/>
                <a:moveTo>
                  <a:pt x="745" y="469"/>
                </a:moveTo>
                <a:cubicBezTo>
                  <a:pt x="890" y="471"/>
                  <a:pt x="1006" y="590"/>
                  <a:pt x="1005" y="735"/>
                </a:cubicBezTo>
                <a:cubicBezTo>
                  <a:pt x="1003" y="881"/>
                  <a:pt x="884" y="997"/>
                  <a:pt x="738" y="995"/>
                </a:cubicBezTo>
                <a:cubicBezTo>
                  <a:pt x="593" y="994"/>
                  <a:pt x="477" y="874"/>
                  <a:pt x="478" y="729"/>
                </a:cubicBezTo>
                <a:cubicBezTo>
                  <a:pt x="480" y="584"/>
                  <a:pt x="600" y="467"/>
                  <a:pt x="745" y="469"/>
                </a:cubicBezTo>
                <a:close/>
              </a:path>
            </a:pathLst>
          </a:custGeom>
          <a:solidFill>
            <a:srgbClr val="B0DCA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/>
          </a:p>
        </p:txBody>
      </p:sp>
      <p:sp>
        <p:nvSpPr>
          <p:cNvPr id="220" name="Freeform 7"/>
          <p:cNvSpPr>
            <a:spLocks noEditPoints="1"/>
          </p:cNvSpPr>
          <p:nvPr userDrawn="1"/>
        </p:nvSpPr>
        <p:spPr bwMode="auto">
          <a:xfrm>
            <a:off x="10660062" y="290941"/>
            <a:ext cx="487303" cy="497617"/>
          </a:xfrm>
          <a:custGeom>
            <a:avLst/>
            <a:gdLst>
              <a:gd name="T0" fmla="*/ 92 w 1477"/>
              <a:gd name="T1" fmla="*/ 583 h 1476"/>
              <a:gd name="T2" fmla="*/ 2 w 1477"/>
              <a:gd name="T3" fmla="*/ 682 h 1476"/>
              <a:gd name="T4" fmla="*/ 1 w 1477"/>
              <a:gd name="T5" fmla="*/ 783 h 1476"/>
              <a:gd name="T6" fmla="*/ 88 w 1477"/>
              <a:gd name="T7" fmla="*/ 883 h 1476"/>
              <a:gd name="T8" fmla="*/ 162 w 1477"/>
              <a:gd name="T9" fmla="*/ 893 h 1476"/>
              <a:gd name="T10" fmla="*/ 215 w 1477"/>
              <a:gd name="T11" fmla="*/ 1022 h 1476"/>
              <a:gd name="T12" fmla="*/ 167 w 1477"/>
              <a:gd name="T13" fmla="*/ 1081 h 1476"/>
              <a:gd name="T14" fmla="*/ 173 w 1477"/>
              <a:gd name="T15" fmla="*/ 1214 h 1476"/>
              <a:gd name="T16" fmla="*/ 244 w 1477"/>
              <a:gd name="T17" fmla="*/ 1287 h 1476"/>
              <a:gd name="T18" fmla="*/ 377 w 1477"/>
              <a:gd name="T19" fmla="*/ 1296 h 1476"/>
              <a:gd name="T20" fmla="*/ 436 w 1477"/>
              <a:gd name="T21" fmla="*/ 1250 h 1476"/>
              <a:gd name="T22" fmla="*/ 569 w 1477"/>
              <a:gd name="T23" fmla="*/ 1308 h 1476"/>
              <a:gd name="T24" fmla="*/ 577 w 1477"/>
              <a:gd name="T25" fmla="*/ 1385 h 1476"/>
              <a:gd name="T26" fmla="*/ 676 w 1477"/>
              <a:gd name="T27" fmla="*/ 1474 h 1476"/>
              <a:gd name="T28" fmla="*/ 777 w 1477"/>
              <a:gd name="T29" fmla="*/ 1475 h 1476"/>
              <a:gd name="T30" fmla="*/ 877 w 1477"/>
              <a:gd name="T31" fmla="*/ 1388 h 1476"/>
              <a:gd name="T32" fmla="*/ 886 w 1477"/>
              <a:gd name="T33" fmla="*/ 1315 h 1476"/>
              <a:gd name="T34" fmla="*/ 1030 w 1477"/>
              <a:gd name="T35" fmla="*/ 1259 h 1476"/>
              <a:gd name="T36" fmla="*/ 1086 w 1477"/>
              <a:gd name="T37" fmla="*/ 1305 h 1476"/>
              <a:gd name="T38" fmla="*/ 1219 w 1477"/>
              <a:gd name="T39" fmla="*/ 1299 h 1476"/>
              <a:gd name="T40" fmla="*/ 1292 w 1477"/>
              <a:gd name="T41" fmla="*/ 1228 h 1476"/>
              <a:gd name="T42" fmla="*/ 1301 w 1477"/>
              <a:gd name="T43" fmla="*/ 1095 h 1476"/>
              <a:gd name="T44" fmla="*/ 1258 w 1477"/>
              <a:gd name="T45" fmla="*/ 1039 h 1476"/>
              <a:gd name="T46" fmla="*/ 1319 w 1477"/>
              <a:gd name="T47" fmla="*/ 899 h 1476"/>
              <a:gd name="T48" fmla="*/ 1385 w 1477"/>
              <a:gd name="T49" fmla="*/ 893 h 1476"/>
              <a:gd name="T50" fmla="*/ 1475 w 1477"/>
              <a:gd name="T51" fmla="*/ 794 h 1476"/>
              <a:gd name="T52" fmla="*/ 1476 w 1477"/>
              <a:gd name="T53" fmla="*/ 693 h 1476"/>
              <a:gd name="T54" fmla="*/ 1389 w 1477"/>
              <a:gd name="T55" fmla="*/ 593 h 1476"/>
              <a:gd name="T56" fmla="*/ 1324 w 1477"/>
              <a:gd name="T57" fmla="*/ 584 h 1476"/>
              <a:gd name="T58" fmla="*/ 1269 w 1477"/>
              <a:gd name="T59" fmla="*/ 444 h 1476"/>
              <a:gd name="T60" fmla="*/ 1310 w 1477"/>
              <a:gd name="T61" fmla="*/ 395 h 1476"/>
              <a:gd name="T62" fmla="*/ 1304 w 1477"/>
              <a:gd name="T63" fmla="*/ 262 h 1476"/>
              <a:gd name="T64" fmla="*/ 1233 w 1477"/>
              <a:gd name="T65" fmla="*/ 189 h 1476"/>
              <a:gd name="T66" fmla="*/ 1100 w 1477"/>
              <a:gd name="T67" fmla="*/ 180 h 1476"/>
              <a:gd name="T68" fmla="*/ 1052 w 1477"/>
              <a:gd name="T69" fmla="*/ 217 h 1476"/>
              <a:gd name="T70" fmla="*/ 906 w 1477"/>
              <a:gd name="T71" fmla="*/ 154 h 1476"/>
              <a:gd name="T72" fmla="*/ 900 w 1477"/>
              <a:gd name="T73" fmla="*/ 91 h 1476"/>
              <a:gd name="T74" fmla="*/ 801 w 1477"/>
              <a:gd name="T75" fmla="*/ 2 h 1476"/>
              <a:gd name="T76" fmla="*/ 700 w 1477"/>
              <a:gd name="T77" fmla="*/ 1 h 1476"/>
              <a:gd name="T78" fmla="*/ 600 w 1477"/>
              <a:gd name="T79" fmla="*/ 88 h 1476"/>
              <a:gd name="T80" fmla="*/ 592 w 1477"/>
              <a:gd name="T81" fmla="*/ 150 h 1476"/>
              <a:gd name="T82" fmla="*/ 441 w 1477"/>
              <a:gd name="T83" fmla="*/ 212 h 1476"/>
              <a:gd name="T84" fmla="*/ 391 w 1477"/>
              <a:gd name="T85" fmla="*/ 171 h 1476"/>
              <a:gd name="T86" fmla="*/ 258 w 1477"/>
              <a:gd name="T87" fmla="*/ 177 h 1476"/>
              <a:gd name="T88" fmla="*/ 185 w 1477"/>
              <a:gd name="T89" fmla="*/ 248 h 1476"/>
              <a:gd name="T90" fmla="*/ 176 w 1477"/>
              <a:gd name="T91" fmla="*/ 381 h 1476"/>
              <a:gd name="T92" fmla="*/ 219 w 1477"/>
              <a:gd name="T93" fmla="*/ 436 h 1476"/>
              <a:gd name="T94" fmla="*/ 162 w 1477"/>
              <a:gd name="T95" fmla="*/ 576 h 1476"/>
              <a:gd name="T96" fmla="*/ 92 w 1477"/>
              <a:gd name="T97" fmla="*/ 583 h 1476"/>
              <a:gd name="T98" fmla="*/ 745 w 1477"/>
              <a:gd name="T99" fmla="*/ 469 h 1476"/>
              <a:gd name="T100" fmla="*/ 1005 w 1477"/>
              <a:gd name="T101" fmla="*/ 735 h 1476"/>
              <a:gd name="T102" fmla="*/ 738 w 1477"/>
              <a:gd name="T103" fmla="*/ 995 h 1476"/>
              <a:gd name="T104" fmla="*/ 478 w 1477"/>
              <a:gd name="T105" fmla="*/ 729 h 1476"/>
              <a:gd name="T106" fmla="*/ 745 w 1477"/>
              <a:gd name="T107" fmla="*/ 469 h 1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77" h="1476">
                <a:moveTo>
                  <a:pt x="92" y="583"/>
                </a:moveTo>
                <a:cubicBezTo>
                  <a:pt x="41" y="589"/>
                  <a:pt x="2" y="631"/>
                  <a:pt x="2" y="682"/>
                </a:cubicBezTo>
                <a:cubicBezTo>
                  <a:pt x="1" y="783"/>
                  <a:pt x="1" y="783"/>
                  <a:pt x="1" y="783"/>
                </a:cubicBezTo>
                <a:cubicBezTo>
                  <a:pt x="0" y="834"/>
                  <a:pt x="38" y="877"/>
                  <a:pt x="88" y="883"/>
                </a:cubicBezTo>
                <a:cubicBezTo>
                  <a:pt x="162" y="893"/>
                  <a:pt x="162" y="893"/>
                  <a:pt x="162" y="893"/>
                </a:cubicBezTo>
                <a:cubicBezTo>
                  <a:pt x="175" y="938"/>
                  <a:pt x="192" y="981"/>
                  <a:pt x="215" y="1022"/>
                </a:cubicBezTo>
                <a:cubicBezTo>
                  <a:pt x="167" y="1081"/>
                  <a:pt x="167" y="1081"/>
                  <a:pt x="167" y="1081"/>
                </a:cubicBezTo>
                <a:cubicBezTo>
                  <a:pt x="135" y="1121"/>
                  <a:pt x="138" y="1178"/>
                  <a:pt x="173" y="1214"/>
                </a:cubicBezTo>
                <a:cubicBezTo>
                  <a:pt x="244" y="1287"/>
                  <a:pt x="244" y="1287"/>
                  <a:pt x="244" y="1287"/>
                </a:cubicBezTo>
                <a:cubicBezTo>
                  <a:pt x="280" y="1323"/>
                  <a:pt x="336" y="1327"/>
                  <a:pt x="377" y="1296"/>
                </a:cubicBezTo>
                <a:cubicBezTo>
                  <a:pt x="436" y="1250"/>
                  <a:pt x="436" y="1250"/>
                  <a:pt x="436" y="1250"/>
                </a:cubicBezTo>
                <a:cubicBezTo>
                  <a:pt x="478" y="1275"/>
                  <a:pt x="523" y="1294"/>
                  <a:pt x="569" y="1308"/>
                </a:cubicBezTo>
                <a:cubicBezTo>
                  <a:pt x="577" y="1385"/>
                  <a:pt x="577" y="1385"/>
                  <a:pt x="577" y="1385"/>
                </a:cubicBezTo>
                <a:cubicBezTo>
                  <a:pt x="582" y="1435"/>
                  <a:pt x="625" y="1474"/>
                  <a:pt x="676" y="1474"/>
                </a:cubicBezTo>
                <a:cubicBezTo>
                  <a:pt x="777" y="1475"/>
                  <a:pt x="777" y="1475"/>
                  <a:pt x="777" y="1475"/>
                </a:cubicBezTo>
                <a:cubicBezTo>
                  <a:pt x="828" y="1476"/>
                  <a:pt x="871" y="1439"/>
                  <a:pt x="877" y="1388"/>
                </a:cubicBezTo>
                <a:cubicBezTo>
                  <a:pt x="886" y="1315"/>
                  <a:pt x="886" y="1315"/>
                  <a:pt x="886" y="1315"/>
                </a:cubicBezTo>
                <a:cubicBezTo>
                  <a:pt x="937" y="1303"/>
                  <a:pt x="985" y="1284"/>
                  <a:pt x="1030" y="1259"/>
                </a:cubicBezTo>
                <a:cubicBezTo>
                  <a:pt x="1086" y="1305"/>
                  <a:pt x="1086" y="1305"/>
                  <a:pt x="1086" y="1305"/>
                </a:cubicBezTo>
                <a:cubicBezTo>
                  <a:pt x="1126" y="1337"/>
                  <a:pt x="1183" y="1334"/>
                  <a:pt x="1219" y="1299"/>
                </a:cubicBezTo>
                <a:cubicBezTo>
                  <a:pt x="1292" y="1228"/>
                  <a:pt x="1292" y="1228"/>
                  <a:pt x="1292" y="1228"/>
                </a:cubicBezTo>
                <a:cubicBezTo>
                  <a:pt x="1328" y="1192"/>
                  <a:pt x="1332" y="1135"/>
                  <a:pt x="1301" y="1095"/>
                </a:cubicBezTo>
                <a:cubicBezTo>
                  <a:pt x="1258" y="1039"/>
                  <a:pt x="1258" y="1039"/>
                  <a:pt x="1258" y="1039"/>
                </a:cubicBezTo>
                <a:cubicBezTo>
                  <a:pt x="1284" y="995"/>
                  <a:pt x="1305" y="949"/>
                  <a:pt x="1319" y="899"/>
                </a:cubicBezTo>
                <a:cubicBezTo>
                  <a:pt x="1385" y="893"/>
                  <a:pt x="1385" y="893"/>
                  <a:pt x="1385" y="893"/>
                </a:cubicBezTo>
                <a:cubicBezTo>
                  <a:pt x="1436" y="887"/>
                  <a:pt x="1474" y="845"/>
                  <a:pt x="1475" y="794"/>
                </a:cubicBezTo>
                <a:cubicBezTo>
                  <a:pt x="1476" y="693"/>
                  <a:pt x="1476" y="693"/>
                  <a:pt x="1476" y="693"/>
                </a:cubicBezTo>
                <a:cubicBezTo>
                  <a:pt x="1477" y="642"/>
                  <a:pt x="1439" y="599"/>
                  <a:pt x="1389" y="593"/>
                </a:cubicBezTo>
                <a:cubicBezTo>
                  <a:pt x="1324" y="584"/>
                  <a:pt x="1324" y="584"/>
                  <a:pt x="1324" y="584"/>
                </a:cubicBezTo>
                <a:cubicBezTo>
                  <a:pt x="1312" y="535"/>
                  <a:pt x="1293" y="488"/>
                  <a:pt x="1269" y="444"/>
                </a:cubicBezTo>
                <a:cubicBezTo>
                  <a:pt x="1310" y="395"/>
                  <a:pt x="1310" y="395"/>
                  <a:pt x="1310" y="395"/>
                </a:cubicBezTo>
                <a:cubicBezTo>
                  <a:pt x="1342" y="355"/>
                  <a:pt x="1339" y="298"/>
                  <a:pt x="1304" y="262"/>
                </a:cubicBezTo>
                <a:cubicBezTo>
                  <a:pt x="1233" y="189"/>
                  <a:pt x="1233" y="189"/>
                  <a:pt x="1233" y="189"/>
                </a:cubicBezTo>
                <a:cubicBezTo>
                  <a:pt x="1197" y="153"/>
                  <a:pt x="1140" y="149"/>
                  <a:pt x="1100" y="180"/>
                </a:cubicBezTo>
                <a:cubicBezTo>
                  <a:pt x="1052" y="217"/>
                  <a:pt x="1052" y="217"/>
                  <a:pt x="1052" y="217"/>
                </a:cubicBezTo>
                <a:cubicBezTo>
                  <a:pt x="1006" y="190"/>
                  <a:pt x="957" y="169"/>
                  <a:pt x="906" y="154"/>
                </a:cubicBezTo>
                <a:cubicBezTo>
                  <a:pt x="900" y="91"/>
                  <a:pt x="900" y="91"/>
                  <a:pt x="900" y="91"/>
                </a:cubicBezTo>
                <a:cubicBezTo>
                  <a:pt x="894" y="41"/>
                  <a:pt x="852" y="2"/>
                  <a:pt x="801" y="2"/>
                </a:cubicBezTo>
                <a:cubicBezTo>
                  <a:pt x="700" y="1"/>
                  <a:pt x="700" y="1"/>
                  <a:pt x="700" y="1"/>
                </a:cubicBezTo>
                <a:cubicBezTo>
                  <a:pt x="649" y="0"/>
                  <a:pt x="606" y="37"/>
                  <a:pt x="600" y="88"/>
                </a:cubicBezTo>
                <a:cubicBezTo>
                  <a:pt x="592" y="150"/>
                  <a:pt x="592" y="150"/>
                  <a:pt x="592" y="150"/>
                </a:cubicBezTo>
                <a:cubicBezTo>
                  <a:pt x="539" y="164"/>
                  <a:pt x="488" y="185"/>
                  <a:pt x="441" y="212"/>
                </a:cubicBezTo>
                <a:cubicBezTo>
                  <a:pt x="391" y="171"/>
                  <a:pt x="391" y="171"/>
                  <a:pt x="391" y="171"/>
                </a:cubicBezTo>
                <a:cubicBezTo>
                  <a:pt x="351" y="139"/>
                  <a:pt x="294" y="141"/>
                  <a:pt x="258" y="177"/>
                </a:cubicBezTo>
                <a:cubicBezTo>
                  <a:pt x="185" y="248"/>
                  <a:pt x="185" y="248"/>
                  <a:pt x="185" y="248"/>
                </a:cubicBezTo>
                <a:cubicBezTo>
                  <a:pt x="149" y="284"/>
                  <a:pt x="145" y="341"/>
                  <a:pt x="176" y="381"/>
                </a:cubicBezTo>
                <a:cubicBezTo>
                  <a:pt x="219" y="436"/>
                  <a:pt x="219" y="436"/>
                  <a:pt x="219" y="436"/>
                </a:cubicBezTo>
                <a:cubicBezTo>
                  <a:pt x="194" y="480"/>
                  <a:pt x="174" y="527"/>
                  <a:pt x="162" y="576"/>
                </a:cubicBezTo>
                <a:lnTo>
                  <a:pt x="92" y="583"/>
                </a:lnTo>
                <a:close/>
                <a:moveTo>
                  <a:pt x="745" y="469"/>
                </a:moveTo>
                <a:cubicBezTo>
                  <a:pt x="890" y="471"/>
                  <a:pt x="1006" y="590"/>
                  <a:pt x="1005" y="735"/>
                </a:cubicBezTo>
                <a:cubicBezTo>
                  <a:pt x="1003" y="881"/>
                  <a:pt x="884" y="997"/>
                  <a:pt x="738" y="995"/>
                </a:cubicBezTo>
                <a:cubicBezTo>
                  <a:pt x="593" y="994"/>
                  <a:pt x="477" y="874"/>
                  <a:pt x="478" y="729"/>
                </a:cubicBezTo>
                <a:cubicBezTo>
                  <a:pt x="480" y="584"/>
                  <a:pt x="600" y="467"/>
                  <a:pt x="745" y="469"/>
                </a:cubicBezTo>
                <a:close/>
              </a:path>
            </a:pathLst>
          </a:custGeom>
          <a:solidFill>
            <a:srgbClr val="B0DCA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/>
          </a:p>
        </p:txBody>
      </p:sp>
      <p:sp>
        <p:nvSpPr>
          <p:cNvPr id="221" name="Freeform 7"/>
          <p:cNvSpPr>
            <a:spLocks noEditPoints="1"/>
          </p:cNvSpPr>
          <p:nvPr userDrawn="1"/>
        </p:nvSpPr>
        <p:spPr bwMode="auto">
          <a:xfrm>
            <a:off x="11145896" y="-104347"/>
            <a:ext cx="487303" cy="497617"/>
          </a:xfrm>
          <a:custGeom>
            <a:avLst/>
            <a:gdLst>
              <a:gd name="T0" fmla="*/ 92 w 1477"/>
              <a:gd name="T1" fmla="*/ 583 h 1476"/>
              <a:gd name="T2" fmla="*/ 2 w 1477"/>
              <a:gd name="T3" fmla="*/ 682 h 1476"/>
              <a:gd name="T4" fmla="*/ 1 w 1477"/>
              <a:gd name="T5" fmla="*/ 783 h 1476"/>
              <a:gd name="T6" fmla="*/ 88 w 1477"/>
              <a:gd name="T7" fmla="*/ 883 h 1476"/>
              <a:gd name="T8" fmla="*/ 162 w 1477"/>
              <a:gd name="T9" fmla="*/ 893 h 1476"/>
              <a:gd name="T10" fmla="*/ 215 w 1477"/>
              <a:gd name="T11" fmla="*/ 1022 h 1476"/>
              <a:gd name="T12" fmla="*/ 167 w 1477"/>
              <a:gd name="T13" fmla="*/ 1081 h 1476"/>
              <a:gd name="T14" fmla="*/ 173 w 1477"/>
              <a:gd name="T15" fmla="*/ 1214 h 1476"/>
              <a:gd name="T16" fmla="*/ 244 w 1477"/>
              <a:gd name="T17" fmla="*/ 1287 h 1476"/>
              <a:gd name="T18" fmla="*/ 377 w 1477"/>
              <a:gd name="T19" fmla="*/ 1296 h 1476"/>
              <a:gd name="T20" fmla="*/ 436 w 1477"/>
              <a:gd name="T21" fmla="*/ 1250 h 1476"/>
              <a:gd name="T22" fmla="*/ 569 w 1477"/>
              <a:gd name="T23" fmla="*/ 1308 h 1476"/>
              <a:gd name="T24" fmla="*/ 577 w 1477"/>
              <a:gd name="T25" fmla="*/ 1385 h 1476"/>
              <a:gd name="T26" fmla="*/ 676 w 1477"/>
              <a:gd name="T27" fmla="*/ 1474 h 1476"/>
              <a:gd name="T28" fmla="*/ 777 w 1477"/>
              <a:gd name="T29" fmla="*/ 1475 h 1476"/>
              <a:gd name="T30" fmla="*/ 877 w 1477"/>
              <a:gd name="T31" fmla="*/ 1388 h 1476"/>
              <a:gd name="T32" fmla="*/ 886 w 1477"/>
              <a:gd name="T33" fmla="*/ 1315 h 1476"/>
              <a:gd name="T34" fmla="*/ 1030 w 1477"/>
              <a:gd name="T35" fmla="*/ 1259 h 1476"/>
              <a:gd name="T36" fmla="*/ 1086 w 1477"/>
              <a:gd name="T37" fmla="*/ 1305 h 1476"/>
              <a:gd name="T38" fmla="*/ 1219 w 1477"/>
              <a:gd name="T39" fmla="*/ 1299 h 1476"/>
              <a:gd name="T40" fmla="*/ 1292 w 1477"/>
              <a:gd name="T41" fmla="*/ 1228 h 1476"/>
              <a:gd name="T42" fmla="*/ 1301 w 1477"/>
              <a:gd name="T43" fmla="*/ 1095 h 1476"/>
              <a:gd name="T44" fmla="*/ 1258 w 1477"/>
              <a:gd name="T45" fmla="*/ 1039 h 1476"/>
              <a:gd name="T46" fmla="*/ 1319 w 1477"/>
              <a:gd name="T47" fmla="*/ 899 h 1476"/>
              <a:gd name="T48" fmla="*/ 1385 w 1477"/>
              <a:gd name="T49" fmla="*/ 893 h 1476"/>
              <a:gd name="T50" fmla="*/ 1475 w 1477"/>
              <a:gd name="T51" fmla="*/ 794 h 1476"/>
              <a:gd name="T52" fmla="*/ 1476 w 1477"/>
              <a:gd name="T53" fmla="*/ 693 h 1476"/>
              <a:gd name="T54" fmla="*/ 1389 w 1477"/>
              <a:gd name="T55" fmla="*/ 593 h 1476"/>
              <a:gd name="T56" fmla="*/ 1324 w 1477"/>
              <a:gd name="T57" fmla="*/ 584 h 1476"/>
              <a:gd name="T58" fmla="*/ 1269 w 1477"/>
              <a:gd name="T59" fmla="*/ 444 h 1476"/>
              <a:gd name="T60" fmla="*/ 1310 w 1477"/>
              <a:gd name="T61" fmla="*/ 395 h 1476"/>
              <a:gd name="T62" fmla="*/ 1304 w 1477"/>
              <a:gd name="T63" fmla="*/ 262 h 1476"/>
              <a:gd name="T64" fmla="*/ 1233 w 1477"/>
              <a:gd name="T65" fmla="*/ 189 h 1476"/>
              <a:gd name="T66" fmla="*/ 1100 w 1477"/>
              <a:gd name="T67" fmla="*/ 180 h 1476"/>
              <a:gd name="T68" fmla="*/ 1052 w 1477"/>
              <a:gd name="T69" fmla="*/ 217 h 1476"/>
              <a:gd name="T70" fmla="*/ 906 w 1477"/>
              <a:gd name="T71" fmla="*/ 154 h 1476"/>
              <a:gd name="T72" fmla="*/ 900 w 1477"/>
              <a:gd name="T73" fmla="*/ 91 h 1476"/>
              <a:gd name="T74" fmla="*/ 801 w 1477"/>
              <a:gd name="T75" fmla="*/ 2 h 1476"/>
              <a:gd name="T76" fmla="*/ 700 w 1477"/>
              <a:gd name="T77" fmla="*/ 1 h 1476"/>
              <a:gd name="T78" fmla="*/ 600 w 1477"/>
              <a:gd name="T79" fmla="*/ 88 h 1476"/>
              <a:gd name="T80" fmla="*/ 592 w 1477"/>
              <a:gd name="T81" fmla="*/ 150 h 1476"/>
              <a:gd name="T82" fmla="*/ 441 w 1477"/>
              <a:gd name="T83" fmla="*/ 212 h 1476"/>
              <a:gd name="T84" fmla="*/ 391 w 1477"/>
              <a:gd name="T85" fmla="*/ 171 h 1476"/>
              <a:gd name="T86" fmla="*/ 258 w 1477"/>
              <a:gd name="T87" fmla="*/ 177 h 1476"/>
              <a:gd name="T88" fmla="*/ 185 w 1477"/>
              <a:gd name="T89" fmla="*/ 248 h 1476"/>
              <a:gd name="T90" fmla="*/ 176 w 1477"/>
              <a:gd name="T91" fmla="*/ 381 h 1476"/>
              <a:gd name="T92" fmla="*/ 219 w 1477"/>
              <a:gd name="T93" fmla="*/ 436 h 1476"/>
              <a:gd name="T94" fmla="*/ 162 w 1477"/>
              <a:gd name="T95" fmla="*/ 576 h 1476"/>
              <a:gd name="T96" fmla="*/ 92 w 1477"/>
              <a:gd name="T97" fmla="*/ 583 h 1476"/>
              <a:gd name="T98" fmla="*/ 745 w 1477"/>
              <a:gd name="T99" fmla="*/ 469 h 1476"/>
              <a:gd name="T100" fmla="*/ 1005 w 1477"/>
              <a:gd name="T101" fmla="*/ 735 h 1476"/>
              <a:gd name="T102" fmla="*/ 738 w 1477"/>
              <a:gd name="T103" fmla="*/ 995 h 1476"/>
              <a:gd name="T104" fmla="*/ 478 w 1477"/>
              <a:gd name="T105" fmla="*/ 729 h 1476"/>
              <a:gd name="T106" fmla="*/ 745 w 1477"/>
              <a:gd name="T107" fmla="*/ 469 h 1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77" h="1476">
                <a:moveTo>
                  <a:pt x="92" y="583"/>
                </a:moveTo>
                <a:cubicBezTo>
                  <a:pt x="41" y="589"/>
                  <a:pt x="2" y="631"/>
                  <a:pt x="2" y="682"/>
                </a:cubicBezTo>
                <a:cubicBezTo>
                  <a:pt x="1" y="783"/>
                  <a:pt x="1" y="783"/>
                  <a:pt x="1" y="783"/>
                </a:cubicBezTo>
                <a:cubicBezTo>
                  <a:pt x="0" y="834"/>
                  <a:pt x="38" y="877"/>
                  <a:pt x="88" y="883"/>
                </a:cubicBezTo>
                <a:cubicBezTo>
                  <a:pt x="162" y="893"/>
                  <a:pt x="162" y="893"/>
                  <a:pt x="162" y="893"/>
                </a:cubicBezTo>
                <a:cubicBezTo>
                  <a:pt x="175" y="938"/>
                  <a:pt x="192" y="981"/>
                  <a:pt x="215" y="1022"/>
                </a:cubicBezTo>
                <a:cubicBezTo>
                  <a:pt x="167" y="1081"/>
                  <a:pt x="167" y="1081"/>
                  <a:pt x="167" y="1081"/>
                </a:cubicBezTo>
                <a:cubicBezTo>
                  <a:pt x="135" y="1121"/>
                  <a:pt x="138" y="1178"/>
                  <a:pt x="173" y="1214"/>
                </a:cubicBezTo>
                <a:cubicBezTo>
                  <a:pt x="244" y="1287"/>
                  <a:pt x="244" y="1287"/>
                  <a:pt x="244" y="1287"/>
                </a:cubicBezTo>
                <a:cubicBezTo>
                  <a:pt x="280" y="1323"/>
                  <a:pt x="336" y="1327"/>
                  <a:pt x="377" y="1296"/>
                </a:cubicBezTo>
                <a:cubicBezTo>
                  <a:pt x="436" y="1250"/>
                  <a:pt x="436" y="1250"/>
                  <a:pt x="436" y="1250"/>
                </a:cubicBezTo>
                <a:cubicBezTo>
                  <a:pt x="478" y="1275"/>
                  <a:pt x="523" y="1294"/>
                  <a:pt x="569" y="1308"/>
                </a:cubicBezTo>
                <a:cubicBezTo>
                  <a:pt x="577" y="1385"/>
                  <a:pt x="577" y="1385"/>
                  <a:pt x="577" y="1385"/>
                </a:cubicBezTo>
                <a:cubicBezTo>
                  <a:pt x="582" y="1435"/>
                  <a:pt x="625" y="1474"/>
                  <a:pt x="676" y="1474"/>
                </a:cubicBezTo>
                <a:cubicBezTo>
                  <a:pt x="777" y="1475"/>
                  <a:pt x="777" y="1475"/>
                  <a:pt x="777" y="1475"/>
                </a:cubicBezTo>
                <a:cubicBezTo>
                  <a:pt x="828" y="1476"/>
                  <a:pt x="871" y="1439"/>
                  <a:pt x="877" y="1388"/>
                </a:cubicBezTo>
                <a:cubicBezTo>
                  <a:pt x="886" y="1315"/>
                  <a:pt x="886" y="1315"/>
                  <a:pt x="886" y="1315"/>
                </a:cubicBezTo>
                <a:cubicBezTo>
                  <a:pt x="937" y="1303"/>
                  <a:pt x="985" y="1284"/>
                  <a:pt x="1030" y="1259"/>
                </a:cubicBezTo>
                <a:cubicBezTo>
                  <a:pt x="1086" y="1305"/>
                  <a:pt x="1086" y="1305"/>
                  <a:pt x="1086" y="1305"/>
                </a:cubicBezTo>
                <a:cubicBezTo>
                  <a:pt x="1126" y="1337"/>
                  <a:pt x="1183" y="1334"/>
                  <a:pt x="1219" y="1299"/>
                </a:cubicBezTo>
                <a:cubicBezTo>
                  <a:pt x="1292" y="1228"/>
                  <a:pt x="1292" y="1228"/>
                  <a:pt x="1292" y="1228"/>
                </a:cubicBezTo>
                <a:cubicBezTo>
                  <a:pt x="1328" y="1192"/>
                  <a:pt x="1332" y="1135"/>
                  <a:pt x="1301" y="1095"/>
                </a:cubicBezTo>
                <a:cubicBezTo>
                  <a:pt x="1258" y="1039"/>
                  <a:pt x="1258" y="1039"/>
                  <a:pt x="1258" y="1039"/>
                </a:cubicBezTo>
                <a:cubicBezTo>
                  <a:pt x="1284" y="995"/>
                  <a:pt x="1305" y="949"/>
                  <a:pt x="1319" y="899"/>
                </a:cubicBezTo>
                <a:cubicBezTo>
                  <a:pt x="1385" y="893"/>
                  <a:pt x="1385" y="893"/>
                  <a:pt x="1385" y="893"/>
                </a:cubicBezTo>
                <a:cubicBezTo>
                  <a:pt x="1436" y="887"/>
                  <a:pt x="1474" y="845"/>
                  <a:pt x="1475" y="794"/>
                </a:cubicBezTo>
                <a:cubicBezTo>
                  <a:pt x="1476" y="693"/>
                  <a:pt x="1476" y="693"/>
                  <a:pt x="1476" y="693"/>
                </a:cubicBezTo>
                <a:cubicBezTo>
                  <a:pt x="1477" y="642"/>
                  <a:pt x="1439" y="599"/>
                  <a:pt x="1389" y="593"/>
                </a:cubicBezTo>
                <a:cubicBezTo>
                  <a:pt x="1324" y="584"/>
                  <a:pt x="1324" y="584"/>
                  <a:pt x="1324" y="584"/>
                </a:cubicBezTo>
                <a:cubicBezTo>
                  <a:pt x="1312" y="535"/>
                  <a:pt x="1293" y="488"/>
                  <a:pt x="1269" y="444"/>
                </a:cubicBezTo>
                <a:cubicBezTo>
                  <a:pt x="1310" y="395"/>
                  <a:pt x="1310" y="395"/>
                  <a:pt x="1310" y="395"/>
                </a:cubicBezTo>
                <a:cubicBezTo>
                  <a:pt x="1342" y="355"/>
                  <a:pt x="1339" y="298"/>
                  <a:pt x="1304" y="262"/>
                </a:cubicBezTo>
                <a:cubicBezTo>
                  <a:pt x="1233" y="189"/>
                  <a:pt x="1233" y="189"/>
                  <a:pt x="1233" y="189"/>
                </a:cubicBezTo>
                <a:cubicBezTo>
                  <a:pt x="1197" y="153"/>
                  <a:pt x="1140" y="149"/>
                  <a:pt x="1100" y="180"/>
                </a:cubicBezTo>
                <a:cubicBezTo>
                  <a:pt x="1052" y="217"/>
                  <a:pt x="1052" y="217"/>
                  <a:pt x="1052" y="217"/>
                </a:cubicBezTo>
                <a:cubicBezTo>
                  <a:pt x="1006" y="190"/>
                  <a:pt x="957" y="169"/>
                  <a:pt x="906" y="154"/>
                </a:cubicBezTo>
                <a:cubicBezTo>
                  <a:pt x="900" y="91"/>
                  <a:pt x="900" y="91"/>
                  <a:pt x="900" y="91"/>
                </a:cubicBezTo>
                <a:cubicBezTo>
                  <a:pt x="894" y="41"/>
                  <a:pt x="852" y="2"/>
                  <a:pt x="801" y="2"/>
                </a:cubicBezTo>
                <a:cubicBezTo>
                  <a:pt x="700" y="1"/>
                  <a:pt x="700" y="1"/>
                  <a:pt x="700" y="1"/>
                </a:cubicBezTo>
                <a:cubicBezTo>
                  <a:pt x="649" y="0"/>
                  <a:pt x="606" y="37"/>
                  <a:pt x="600" y="88"/>
                </a:cubicBezTo>
                <a:cubicBezTo>
                  <a:pt x="592" y="150"/>
                  <a:pt x="592" y="150"/>
                  <a:pt x="592" y="150"/>
                </a:cubicBezTo>
                <a:cubicBezTo>
                  <a:pt x="539" y="164"/>
                  <a:pt x="488" y="185"/>
                  <a:pt x="441" y="212"/>
                </a:cubicBezTo>
                <a:cubicBezTo>
                  <a:pt x="391" y="171"/>
                  <a:pt x="391" y="171"/>
                  <a:pt x="391" y="171"/>
                </a:cubicBezTo>
                <a:cubicBezTo>
                  <a:pt x="351" y="139"/>
                  <a:pt x="294" y="141"/>
                  <a:pt x="258" y="177"/>
                </a:cubicBezTo>
                <a:cubicBezTo>
                  <a:pt x="185" y="248"/>
                  <a:pt x="185" y="248"/>
                  <a:pt x="185" y="248"/>
                </a:cubicBezTo>
                <a:cubicBezTo>
                  <a:pt x="149" y="284"/>
                  <a:pt x="145" y="341"/>
                  <a:pt x="176" y="381"/>
                </a:cubicBezTo>
                <a:cubicBezTo>
                  <a:pt x="219" y="436"/>
                  <a:pt x="219" y="436"/>
                  <a:pt x="219" y="436"/>
                </a:cubicBezTo>
                <a:cubicBezTo>
                  <a:pt x="194" y="480"/>
                  <a:pt x="174" y="527"/>
                  <a:pt x="162" y="576"/>
                </a:cubicBezTo>
                <a:lnTo>
                  <a:pt x="92" y="583"/>
                </a:lnTo>
                <a:close/>
                <a:moveTo>
                  <a:pt x="745" y="469"/>
                </a:moveTo>
                <a:cubicBezTo>
                  <a:pt x="890" y="471"/>
                  <a:pt x="1006" y="590"/>
                  <a:pt x="1005" y="735"/>
                </a:cubicBezTo>
                <a:cubicBezTo>
                  <a:pt x="1003" y="881"/>
                  <a:pt x="884" y="997"/>
                  <a:pt x="738" y="995"/>
                </a:cubicBezTo>
                <a:cubicBezTo>
                  <a:pt x="593" y="994"/>
                  <a:pt x="477" y="874"/>
                  <a:pt x="478" y="729"/>
                </a:cubicBezTo>
                <a:cubicBezTo>
                  <a:pt x="480" y="584"/>
                  <a:pt x="600" y="467"/>
                  <a:pt x="745" y="469"/>
                </a:cubicBezTo>
                <a:close/>
              </a:path>
            </a:pathLst>
          </a:custGeom>
          <a:solidFill>
            <a:srgbClr val="B0DCA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/>
          </a:p>
        </p:txBody>
      </p:sp>
      <p:sp>
        <p:nvSpPr>
          <p:cNvPr id="22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002855" y="2051008"/>
            <a:ext cx="9012464" cy="1924715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ts val="8000"/>
              </a:lnSpc>
              <a:spcBef>
                <a:spcPts val="0"/>
              </a:spcBef>
              <a:buNone/>
              <a:defRPr lang="en-US" sz="8000" b="1" kern="1200" smtClean="0">
                <a:solidFill>
                  <a:srgbClr val="45454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223" name="Marcador de texto 7"/>
          <p:cNvSpPr>
            <a:spLocks noGrp="1"/>
          </p:cNvSpPr>
          <p:nvPr>
            <p:ph type="body" sz="quarter" idx="28" hasCustomPrompt="1"/>
          </p:nvPr>
        </p:nvSpPr>
        <p:spPr>
          <a:xfrm>
            <a:off x="1002855" y="4327279"/>
            <a:ext cx="2205087" cy="461665"/>
          </a:xfrm>
          <a:prstGeom prst="rect">
            <a:avLst/>
          </a:prstGeom>
          <a:solidFill>
            <a:srgbClr val="008238"/>
          </a:solidFill>
        </p:spPr>
        <p:txBody>
          <a:bodyPr vert="horz" wrap="square" lIns="0" tIns="45720" rIns="0" bIns="45720" numCol="1" spcCol="18288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solidFill>
                  <a:schemeClr val="bg1"/>
                </a:solidFill>
                <a:latin typeface="+mn-lt"/>
                <a:ea typeface="Roboto" charset="0"/>
                <a:cs typeface="Nunito Sans" panose="00000500000000000000" pitchFamily="2" charset="0"/>
              </a:defRPr>
            </a:lvl1pPr>
          </a:lstStyle>
          <a:p>
            <a:r>
              <a:rPr lang="en-GB"/>
              <a:t>Subtitle Here</a:t>
            </a:r>
          </a:p>
        </p:txBody>
      </p:sp>
      <p:sp>
        <p:nvSpPr>
          <p:cNvPr id="224" name="Marcador de texto 7"/>
          <p:cNvSpPr>
            <a:spLocks noGrp="1"/>
          </p:cNvSpPr>
          <p:nvPr>
            <p:ph type="body" sz="quarter" idx="29" hasCustomPrompt="1"/>
          </p:nvPr>
        </p:nvSpPr>
        <p:spPr>
          <a:xfrm>
            <a:off x="5825172" y="5948252"/>
            <a:ext cx="5974080" cy="415498"/>
          </a:xfrm>
          <a:prstGeom prst="rect">
            <a:avLst/>
          </a:prstGeom>
          <a:noFill/>
        </p:spPr>
        <p:txBody>
          <a:bodyPr vert="horz" wrap="square" lIns="0" tIns="0" rIns="0" bIns="0" numCol="1" spcCol="182880" anchor="t">
            <a:spAutoFit/>
          </a:bodyPr>
          <a:lstStyle>
            <a:lvl1pPr marL="0" indent="0" algn="r">
              <a:lnSpc>
                <a:spcPct val="150000"/>
              </a:lnSpc>
              <a:buNone/>
              <a:defRPr sz="1800" b="1" i="0" spc="300" baseline="0">
                <a:solidFill>
                  <a:srgbClr val="008238"/>
                </a:solidFill>
                <a:latin typeface="+mn-lt"/>
                <a:ea typeface="Roboto" charset="0"/>
                <a:cs typeface="Nunito Sans" panose="00000500000000000000" pitchFamily="2" charset="0"/>
              </a:defRPr>
            </a:lvl1pPr>
          </a:lstStyle>
          <a:p>
            <a:r>
              <a:rPr lang="en-GB"/>
              <a:t>Dennis Lentz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87" y="256682"/>
            <a:ext cx="3730160" cy="1155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143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082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-18785"/>
            <a:ext cx="12192000" cy="714829"/>
          </a:xfrm>
          <a:prstGeom prst="rect">
            <a:avLst/>
          </a:prstGeom>
          <a:solidFill>
            <a:srgbClr val="0082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>
              <a:solidFill>
                <a:schemeClr val="bg1"/>
              </a:solidFill>
            </a:endParaRPr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30" hasCustomPrompt="1"/>
          </p:nvPr>
        </p:nvSpPr>
        <p:spPr>
          <a:xfrm>
            <a:off x="381000" y="110029"/>
            <a:ext cx="9372600" cy="457200"/>
          </a:xfrm>
          <a:prstGeom prst="rect">
            <a:avLst/>
          </a:prstGeom>
          <a:noFill/>
        </p:spPr>
        <p:txBody>
          <a:bodyPr vert="horz" wrap="none" lIns="0" tIns="0" rIns="0" bIns="0" anchor="ctr" anchorCtr="0">
            <a:noAutofit/>
          </a:bodyPr>
          <a:lstStyle>
            <a:lvl1pPr marL="0" indent="0" algn="l">
              <a:buNone/>
              <a:defRPr sz="3600" b="1" i="0" baseline="0">
                <a:solidFill>
                  <a:schemeClr val="bg1"/>
                </a:solidFill>
                <a:latin typeface="+mn-lt"/>
                <a:ea typeface="Nunito Sans bold" panose="00000800000000000000" pitchFamily="2" charset="0"/>
                <a:cs typeface="Nunito Sans bold" panose="00000800000000000000" pitchFamily="2" charset="0"/>
              </a:defRPr>
            </a:lvl1pPr>
          </a:lstStyle>
          <a:p>
            <a:pPr lvl="0"/>
            <a:r>
              <a:rPr lang="en-GB"/>
              <a:t>Title Examp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580" y="110029"/>
            <a:ext cx="1249420" cy="387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940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1">
    <p:bg>
      <p:bgPr>
        <a:solidFill>
          <a:srgbClr val="0082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7"/>
          <p:cNvSpPr>
            <a:spLocks noGrp="1"/>
          </p:cNvSpPr>
          <p:nvPr>
            <p:ph type="body" sz="quarter" idx="30" hasCustomPrompt="1"/>
          </p:nvPr>
        </p:nvSpPr>
        <p:spPr>
          <a:xfrm>
            <a:off x="1722120" y="2346960"/>
            <a:ext cx="8747760" cy="895894"/>
          </a:xfrm>
          <a:prstGeom prst="rect">
            <a:avLst/>
          </a:prstGeom>
          <a:noFill/>
        </p:spPr>
        <p:txBody>
          <a:bodyPr vert="horz" wrap="none" lIns="0" tIns="0" rIns="0" bIns="0" anchor="ctr" anchorCtr="0">
            <a:noAutofit/>
          </a:bodyPr>
          <a:lstStyle>
            <a:lvl1pPr marL="0" indent="0" algn="ctr">
              <a:buNone/>
              <a:defRPr sz="8800" b="1" i="0" baseline="0">
                <a:solidFill>
                  <a:schemeClr val="bg1"/>
                </a:solidFill>
                <a:latin typeface="+mn-lt"/>
                <a:ea typeface="Nunito Sans bold" panose="00000800000000000000" pitchFamily="2" charset="0"/>
                <a:cs typeface="Nunito Sans bold" panose="00000800000000000000" pitchFamily="2" charset="0"/>
              </a:defRPr>
            </a:lvl1pPr>
          </a:lstStyle>
          <a:p>
            <a:pPr lvl="0"/>
            <a:r>
              <a:rPr lang="en-GB"/>
              <a:t>Title Example</a:t>
            </a:r>
          </a:p>
        </p:txBody>
      </p:sp>
      <p:sp>
        <p:nvSpPr>
          <p:cNvPr id="4" name="Marcador de texto 7"/>
          <p:cNvSpPr>
            <a:spLocks noGrp="1"/>
          </p:cNvSpPr>
          <p:nvPr>
            <p:ph type="body" sz="quarter" idx="31" hasCustomPrompt="1"/>
          </p:nvPr>
        </p:nvSpPr>
        <p:spPr>
          <a:xfrm>
            <a:off x="3352800" y="3829050"/>
            <a:ext cx="5486400" cy="1924050"/>
          </a:xfrm>
          <a:prstGeom prst="rect">
            <a:avLst/>
          </a:prstGeom>
          <a:noFill/>
        </p:spPr>
        <p:txBody>
          <a:bodyPr vert="horz" wrap="none" lIns="0" tIns="0" rIns="0" bIns="0" anchor="t" anchorCtr="0">
            <a:noAutofit/>
          </a:bodyPr>
          <a:lstStyle>
            <a:lvl1pPr marL="0" indent="0" algn="ctr">
              <a:buNone/>
              <a:defRPr sz="1800" b="0" i="0" baseline="0">
                <a:solidFill>
                  <a:schemeClr val="bg1"/>
                </a:solidFill>
                <a:latin typeface="+mn-lt"/>
                <a:ea typeface="Nunito Sans" panose="00000500000000000000" pitchFamily="2" charset="0"/>
                <a:cs typeface="Nunito Sans" panose="00000500000000000000" pitchFamily="2" charset="0"/>
              </a:defRPr>
            </a:lvl1pPr>
          </a:lstStyle>
          <a:p>
            <a:pPr lvl="0"/>
            <a:r>
              <a:rPr lang="en-GB"/>
              <a:t>Title Examp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201155"/>
            <a:ext cx="1828800" cy="567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0410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IT_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 noChangeAspect="1"/>
          </p:cNvSpPr>
          <p:nvPr>
            <p:ph type="title" hasCustomPrompt="1"/>
          </p:nvPr>
        </p:nvSpPr>
        <p:spPr>
          <a:xfrm>
            <a:off x="2274291" y="98612"/>
            <a:ext cx="9747379" cy="6813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Title</a:t>
            </a:r>
            <a:endParaRPr lang="en-GB" noProof="0"/>
          </a:p>
        </p:txBody>
      </p:sp>
      <p:sp>
        <p:nvSpPr>
          <p:cNvPr id="3" name="Inhaltsplatzhalter 2"/>
          <p:cNvSpPr>
            <a:spLocks noGrp="1" noChangeAspect="1"/>
          </p:cNvSpPr>
          <p:nvPr>
            <p:ph idx="1" hasCustomPrompt="1"/>
          </p:nvPr>
        </p:nvSpPr>
        <p:spPr>
          <a:xfrm>
            <a:off x="150435" y="1077685"/>
            <a:ext cx="11871235" cy="523330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75833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-18785"/>
            <a:ext cx="12192000" cy="714829"/>
          </a:xfrm>
          <a:prstGeom prst="rect">
            <a:avLst/>
          </a:prstGeom>
          <a:solidFill>
            <a:srgbClr val="0082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30" hasCustomPrompt="1"/>
          </p:nvPr>
        </p:nvSpPr>
        <p:spPr>
          <a:xfrm>
            <a:off x="381000" y="110029"/>
            <a:ext cx="9372600" cy="457200"/>
          </a:xfrm>
          <a:prstGeom prst="rect">
            <a:avLst/>
          </a:prstGeom>
          <a:noFill/>
        </p:spPr>
        <p:txBody>
          <a:bodyPr vert="horz" wrap="none" lIns="0" tIns="0" rIns="0" bIns="0" anchor="ctr" anchorCtr="0">
            <a:noAutofit/>
          </a:bodyPr>
          <a:lstStyle>
            <a:lvl1pPr marL="0" indent="0" algn="l">
              <a:buNone/>
              <a:defRPr sz="3600" b="1" i="0" baseline="0">
                <a:solidFill>
                  <a:schemeClr val="bg1"/>
                </a:solidFill>
                <a:latin typeface="+mn-lt"/>
                <a:ea typeface="Nunito Sans bold" panose="00000800000000000000" pitchFamily="2" charset="0"/>
                <a:cs typeface="Nunito Sans bold" panose="00000800000000000000" pitchFamily="2" charset="0"/>
              </a:defRPr>
            </a:lvl1pPr>
          </a:lstStyle>
          <a:p>
            <a:pPr lvl="0"/>
            <a:r>
              <a:rPr lang="en-GB"/>
              <a:t>Title Examp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580" y="110029"/>
            <a:ext cx="1249420" cy="387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698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33880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392099"/>
            <a:ext cx="12192000" cy="4659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/>
          </a:p>
        </p:txBody>
      </p:sp>
      <p:sp>
        <p:nvSpPr>
          <p:cNvPr id="2" name="Oval 1"/>
          <p:cNvSpPr/>
          <p:nvPr userDrawn="1"/>
        </p:nvSpPr>
        <p:spPr>
          <a:xfrm>
            <a:off x="11477625" y="6465094"/>
            <a:ext cx="338137" cy="338137"/>
          </a:xfrm>
          <a:prstGeom prst="ellipse">
            <a:avLst/>
          </a:prstGeom>
          <a:solidFill>
            <a:srgbClr val="0082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>
            <a:off x="11434717" y="6495662"/>
            <a:ext cx="4191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790F1E35-736E-4BB2-90BA-7F8A3AAACCA8}" type="slidenum">
              <a:rPr lang="en-GB" sz="1200" b="1" smtClean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rPr>
              <a:pPr algn="ctr"/>
              <a:t>‹#›</a:t>
            </a:fld>
            <a:endParaRPr lang="en-GB" sz="1200" b="1">
              <a:solidFill>
                <a:schemeClr val="bg1"/>
              </a:solidFill>
              <a:latin typeface="+mn-lt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864" y="6539923"/>
            <a:ext cx="2306170" cy="17025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81000" y="6540717"/>
            <a:ext cx="5066545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baseline="0">
                <a:solidFill>
                  <a:srgbClr val="454545"/>
                </a:solidFill>
                <a:latin typeface="+mn-lt"/>
                <a:cs typeface="Segoe UI" panose="020B0502040204020203" pitchFamily="34" charset="0"/>
              </a:rPr>
              <a:t>September 23rd </a:t>
            </a:r>
            <a:r>
              <a:rPr lang="de-DE" sz="1000">
                <a:solidFill>
                  <a:srgbClr val="454545"/>
                </a:solidFill>
                <a:latin typeface="+mn-lt"/>
                <a:cs typeface="Segoe UI" panose="020B0502040204020203" pitchFamily="34" charset="0"/>
              </a:rPr>
              <a:t>– OneIT </a:t>
            </a:r>
            <a:r>
              <a:rPr lang="de-DE" sz="1000" err="1">
                <a:solidFill>
                  <a:srgbClr val="454545"/>
                </a:solidFill>
                <a:latin typeface="+mn-lt"/>
                <a:cs typeface="Segoe UI" panose="020B0502040204020203" pitchFamily="34" charset="0"/>
              </a:rPr>
              <a:t>ReOrg</a:t>
            </a:r>
            <a:r>
              <a:rPr lang="de-DE" sz="1000">
                <a:solidFill>
                  <a:srgbClr val="454545"/>
                </a:solidFill>
                <a:latin typeface="+mn-lt"/>
                <a:cs typeface="Segoe UI" panose="020B0502040204020203" pitchFamily="34" charset="0"/>
              </a:rPr>
              <a:t> 2.0 – Dennis Lentz</a:t>
            </a:r>
            <a:endParaRPr lang="en-GB" sz="1000">
              <a:solidFill>
                <a:srgbClr val="454545"/>
              </a:solidFill>
              <a:latin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893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04" r:id="rId2"/>
    <p:sldLayoutId id="2147483706" r:id="rId3"/>
    <p:sldLayoutId id="2147483717" r:id="rId4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40" userDrawn="1">
          <p15:clr>
            <a:srgbClr val="F26B43"/>
          </p15:clr>
        </p15:guide>
        <p15:guide id="6" pos="74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392099"/>
            <a:ext cx="12192000" cy="4659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Oval 1"/>
          <p:cNvSpPr/>
          <p:nvPr userDrawn="1"/>
        </p:nvSpPr>
        <p:spPr>
          <a:xfrm>
            <a:off x="11477625" y="6465094"/>
            <a:ext cx="338137" cy="338137"/>
          </a:xfrm>
          <a:prstGeom prst="ellipse">
            <a:avLst/>
          </a:prstGeom>
          <a:solidFill>
            <a:srgbClr val="0082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434717" y="6495662"/>
            <a:ext cx="4191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790F1E35-736E-4BB2-90BA-7F8A3AAACCA8}" type="slidenum">
              <a:rPr lang="en-GB" sz="1200" b="1" smtClean="0">
                <a:solidFill>
                  <a:prstClr val="white"/>
                </a:solidFill>
                <a:ea typeface="Roboto" panose="02000000000000000000" pitchFamily="2" charset="0"/>
                <a:cs typeface="Arial" panose="020B0604020202020204" pitchFamily="34" charset="0"/>
              </a:rPr>
              <a:pPr algn="ctr"/>
              <a:t>‹#›</a:t>
            </a:fld>
            <a:endParaRPr lang="en-GB" sz="1200" b="1">
              <a:solidFill>
                <a:prstClr val="white"/>
              </a:solidFill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864" y="6539923"/>
            <a:ext cx="2306170" cy="17025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81000" y="6540717"/>
            <a:ext cx="5066545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000">
                <a:solidFill>
                  <a:srgbClr val="454545"/>
                </a:solidFill>
                <a:cs typeface="Segoe UI" panose="020B0502040204020203" pitchFamily="34" charset="0"/>
              </a:rPr>
              <a:t>08/2019 – OneIT Update – Dennis Lentz</a:t>
            </a:r>
            <a:endParaRPr lang="en-GB" sz="1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636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66633" y="1249496"/>
            <a:ext cx="9012464" cy="1924715"/>
          </a:xfrm>
        </p:spPr>
        <p:txBody>
          <a:bodyPr/>
          <a:lstStyle/>
          <a:p>
            <a:pPr algn="ctr"/>
            <a:r>
              <a:rPr lang="en-US" sz="4400" dirty="0"/>
              <a:t>Intro to </a:t>
            </a:r>
            <a:endParaRPr lang="en-US" sz="4400" dirty="0" smtClean="0"/>
          </a:p>
          <a:p>
            <a:pPr algn="ctr"/>
            <a:r>
              <a:rPr lang="en-US" sz="4400" dirty="0" smtClean="0"/>
              <a:t>DDD</a:t>
            </a:r>
            <a:r>
              <a:rPr lang="en-US" sz="4400" dirty="0"/>
              <a:t>, CQRS , Event sourcing &amp; Functional Programming</a:t>
            </a:r>
            <a:endParaRPr lang="en-GB" sz="4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9"/>
          </p:nvPr>
        </p:nvSpPr>
        <p:spPr>
          <a:xfrm>
            <a:off x="5748972" y="5516452"/>
            <a:ext cx="5974080" cy="372538"/>
          </a:xfrm>
        </p:spPr>
        <p:txBody>
          <a:bodyPr/>
          <a:lstStyle/>
          <a:p>
            <a:r>
              <a:rPr lang="en-GB" dirty="0" smtClean="0"/>
              <a:t>Yordan Yordanov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0" y="90311"/>
            <a:ext cx="4701822" cy="15465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492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8356" y="6502400"/>
            <a:ext cx="2799644" cy="2709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b="0" dirty="0" smtClean="0"/>
              <a:t>Domain-Driven </a:t>
            </a:r>
            <a:r>
              <a:rPr lang="en-US" b="0" dirty="0"/>
              <a:t>D</a:t>
            </a:r>
            <a:r>
              <a:rPr lang="en-US" b="0" dirty="0" smtClean="0"/>
              <a:t>esign</a:t>
            </a:r>
            <a:endParaRPr lang="en-US" b="0" dirty="0"/>
          </a:p>
        </p:txBody>
      </p:sp>
      <p:sp>
        <p:nvSpPr>
          <p:cNvPr id="2" name="TextBox 1"/>
          <p:cNvSpPr txBox="1"/>
          <p:nvPr/>
        </p:nvSpPr>
        <p:spPr>
          <a:xfrm>
            <a:off x="1992489" y="846667"/>
            <a:ext cx="77611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lacing the project's primary focus on the core domain and domain logic</a:t>
            </a:r>
            <a:endParaRPr lang="en-US" dirty="0"/>
          </a:p>
        </p:txBody>
      </p:sp>
      <p:sp>
        <p:nvSpPr>
          <p:cNvPr id="5" name="AutoShape 6" descr="Резултат с изображение за programer clipa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677333" y="2500489"/>
            <a:ext cx="5125156" cy="3810000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5441244" y="2500489"/>
            <a:ext cx="5125156" cy="3810000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2878666" y="1262820"/>
            <a:ext cx="5125156" cy="3810000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2" descr="Резултат с изображение за user clipar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3426390"/>
            <a:ext cx="3142369" cy="343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Резултат с изображение за programer clipar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9519" y="2500489"/>
            <a:ext cx="3315053" cy="3315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179410" y="2764670"/>
            <a:ext cx="463973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/>
              <a:t>Ubiquitous Language</a:t>
            </a:r>
            <a:endParaRPr lang="en-US" sz="4000" dirty="0"/>
          </a:p>
          <a:p>
            <a:endParaRPr lang="en-US" sz="4000" dirty="0"/>
          </a:p>
        </p:txBody>
      </p:sp>
      <p:sp>
        <p:nvSpPr>
          <p:cNvPr id="12" name="Oval Callout 11"/>
          <p:cNvSpPr/>
          <p:nvPr/>
        </p:nvSpPr>
        <p:spPr>
          <a:xfrm>
            <a:off x="8327144" y="2453668"/>
            <a:ext cx="2280356" cy="1552223"/>
          </a:xfrm>
          <a:prstGeom prst="wedgeEllipseCallou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8469845" y="2844654"/>
            <a:ext cx="24609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REATE Permiss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UPDATE </a:t>
            </a:r>
            <a:r>
              <a:rPr lang="en-US" dirty="0" smtClean="0"/>
              <a:t>Role Request</a:t>
            </a:r>
            <a:endParaRPr lang="en-US" dirty="0"/>
          </a:p>
        </p:txBody>
      </p:sp>
      <p:sp>
        <p:nvSpPr>
          <p:cNvPr id="21" name="Oval Callout 20"/>
          <p:cNvSpPr/>
          <p:nvPr/>
        </p:nvSpPr>
        <p:spPr>
          <a:xfrm>
            <a:off x="435505" y="2077262"/>
            <a:ext cx="2280356" cy="1552223"/>
          </a:xfrm>
          <a:prstGeom prst="wedgeEllipseCallou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778933" y="2500489"/>
            <a:ext cx="2269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YNC Profile</a:t>
            </a:r>
          </a:p>
          <a:p>
            <a:r>
              <a:rPr lang="en-US" dirty="0" smtClean="0"/>
              <a:t>APPLY Permiss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404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8356" y="6502400"/>
            <a:ext cx="2799644" cy="2709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0"/>
          </p:nvPr>
        </p:nvSpPr>
        <p:spPr>
          <a:xfrm>
            <a:off x="381000" y="138251"/>
            <a:ext cx="9372600" cy="457200"/>
          </a:xfrm>
        </p:spPr>
        <p:txBody>
          <a:bodyPr/>
          <a:lstStyle/>
          <a:p>
            <a:r>
              <a:rPr lang="en-US" dirty="0"/>
              <a:t>Command Query Responsibility Segregation</a:t>
            </a:r>
            <a:endParaRPr lang="en-US" dirty="0"/>
          </a:p>
        </p:txBody>
      </p:sp>
      <p:sp>
        <p:nvSpPr>
          <p:cNvPr id="8" name="Round Diagonal Corner Rectangle 7"/>
          <p:cNvSpPr/>
          <p:nvPr/>
        </p:nvSpPr>
        <p:spPr>
          <a:xfrm>
            <a:off x="784579" y="1595948"/>
            <a:ext cx="3736622" cy="3905955"/>
          </a:xfrm>
          <a:prstGeom prst="round2Diag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ommands</a:t>
            </a:r>
            <a:r>
              <a:rPr lang="en-US" dirty="0"/>
              <a:t> are responsible for </a:t>
            </a:r>
            <a:r>
              <a:rPr lang="en-US" b="1" dirty="0"/>
              <a:t>changing</a:t>
            </a:r>
            <a:r>
              <a:rPr lang="en-US" dirty="0"/>
              <a:t> the application state, i.e. creating, updating and deleting entities (data).</a:t>
            </a:r>
            <a:endParaRPr lang="en-US" dirty="0"/>
          </a:p>
        </p:txBody>
      </p:sp>
      <p:sp>
        <p:nvSpPr>
          <p:cNvPr id="9" name="Round Diagonal Corner Rectangle 8"/>
          <p:cNvSpPr/>
          <p:nvPr/>
        </p:nvSpPr>
        <p:spPr>
          <a:xfrm>
            <a:off x="7360356" y="1546577"/>
            <a:ext cx="3736622" cy="3905955"/>
          </a:xfrm>
          <a:prstGeom prst="round2Diag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Queries</a:t>
            </a:r>
            <a:r>
              <a:rPr lang="en-US" dirty="0"/>
              <a:t> are responsible for reading the application state, e.g. to display information to the user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011623" y="946624"/>
            <a:ext cx="59316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/>
                <a:pattFill prst="dkUpDiag">
                  <a:fgClr>
                    <a:schemeClr val="bg1">
                      <a:lumMod val="50000"/>
                    </a:schemeClr>
                  </a:fgClr>
                  <a:bgClr>
                    <a:schemeClr val="tx1">
                      <a:lumMod val="75000"/>
                      <a:lumOff val="25000"/>
                    </a:schemeClr>
                  </a:bgClr>
                </a:pattFill>
                <a:effectLst>
                  <a:outerShdw blurRad="38100" dist="19050" dir="2700000" algn="tl" rotWithShape="0">
                    <a:schemeClr val="dk1">
                      <a:lumMod val="50000"/>
                      <a:alpha val="40000"/>
                    </a:schemeClr>
                  </a:outerShdw>
                </a:effectLst>
              </a:rPr>
              <a:t>Single responsibility</a:t>
            </a:r>
            <a:endParaRPr lang="en-US" sz="5400" b="1" cap="none" spc="0" dirty="0">
              <a:ln/>
              <a:pattFill prst="dkUpDiag">
                <a:fgClr>
                  <a:schemeClr val="bg1">
                    <a:lumMod val="50000"/>
                  </a:schemeClr>
                </a:fgClr>
                <a:bgClr>
                  <a:schemeClr val="tx1">
                    <a:lumMod val="75000"/>
                    <a:lumOff val="25000"/>
                  </a:schemeClr>
                </a:bgClr>
              </a:pattFill>
              <a:effectLst>
                <a:outerShdw blurRad="38100" dist="19050" dir="2700000" algn="tl" rotWithShape="0">
                  <a:schemeClr val="dk1">
                    <a:lumMod val="50000"/>
                    <a:alpha val="40000"/>
                  </a:schemeClr>
                </a:outerShdw>
              </a:effectLst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30328"/>
            <a:ext cx="6315075" cy="11715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3911" y="4049007"/>
            <a:ext cx="5638800" cy="1209675"/>
          </a:xfrm>
          <a:prstGeom prst="rect">
            <a:avLst/>
          </a:prstGeom>
        </p:spPr>
      </p:pic>
      <p:pic>
        <p:nvPicPr>
          <p:cNvPr id="19458" name="Picture 2" descr="Резултат с изображение за MEDIAT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7867" y="1790903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5480050" y="2975557"/>
            <a:ext cx="11557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 smtClean="0">
                <a:solidFill>
                  <a:schemeClr val="accent5">
                    <a:lumMod val="50000"/>
                  </a:schemeClr>
                </a:solidFill>
                <a:latin typeface="-apple-system"/>
              </a:rPr>
              <a:t>MediatR</a:t>
            </a:r>
            <a:endParaRPr lang="en-US" b="1" i="0" dirty="0">
              <a:solidFill>
                <a:schemeClr val="accent5">
                  <a:lumMod val="50000"/>
                </a:schemeClr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29190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8356" y="6502400"/>
            <a:ext cx="2799644" cy="2709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Event </a:t>
            </a:r>
            <a:r>
              <a:rPr lang="en-US" dirty="0" smtClean="0"/>
              <a:t>Sourcing</a:t>
            </a:r>
            <a:endParaRPr lang="en-US" dirty="0"/>
          </a:p>
        </p:txBody>
      </p:sp>
      <p:pic>
        <p:nvPicPr>
          <p:cNvPr id="18434" name="Picture 2" descr="Резултат с изображение за marten dot ne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0850" y="3135313"/>
            <a:ext cx="3463925" cy="1164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990850" y="1365250"/>
            <a:ext cx="65659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 smtClean="0"/>
              <a:t>Implementing </a:t>
            </a:r>
            <a:r>
              <a:rPr lang="en-US" dirty="0"/>
              <a:t>an event-driven architecture and makes it possible to reliably publish </a:t>
            </a:r>
            <a:r>
              <a:rPr lang="en-US" dirty="0" smtClean="0"/>
              <a:t>events</a:t>
            </a:r>
          </a:p>
          <a:p>
            <a:pPr marL="342900" indent="-342900">
              <a:buAutoNum type="arabicPeriod"/>
            </a:pPr>
            <a:r>
              <a:rPr lang="en-US" dirty="0"/>
              <a:t>P</a:t>
            </a:r>
            <a:r>
              <a:rPr lang="en-US" dirty="0" smtClean="0"/>
              <a:t>rovides </a:t>
            </a:r>
            <a:r>
              <a:rPr lang="en-US" dirty="0"/>
              <a:t>a 100% reliable audit log of the changes made to a business </a:t>
            </a:r>
            <a:r>
              <a:rPr lang="en-US" dirty="0"/>
              <a:t>entity (</a:t>
            </a:r>
            <a:r>
              <a:rPr lang="en-US" b="1" dirty="0"/>
              <a:t>Very</a:t>
            </a:r>
            <a:r>
              <a:rPr lang="en-US" dirty="0"/>
              <a:t> </a:t>
            </a:r>
            <a:r>
              <a:rPr lang="en-US" b="1" dirty="0"/>
              <a:t>useful</a:t>
            </a:r>
            <a:r>
              <a:rPr lang="en-US" dirty="0"/>
              <a:t> for </a:t>
            </a:r>
            <a:r>
              <a:rPr lang="en-US" dirty="0" smtClean="0"/>
              <a:t>reports)</a:t>
            </a:r>
          </a:p>
          <a:p>
            <a:pPr marL="342900" indent="-342900">
              <a:buAutoNum type="arabicPeriod"/>
            </a:pPr>
            <a:r>
              <a:rPr lang="en-US" dirty="0" smtClean="0"/>
              <a:t>Implementation </a:t>
            </a:r>
            <a:r>
              <a:rPr lang="en-US" dirty="0"/>
              <a:t>via </a:t>
            </a:r>
            <a:r>
              <a:rPr lang="en-US" dirty="0" smtClean="0"/>
              <a:t>Marte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075113" y="4082458"/>
            <a:ext cx="7670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lyglot Persistence </a:t>
            </a:r>
            <a:r>
              <a:rPr lang="en-US" dirty="0" smtClean="0"/>
              <a:t>using PostgreSQL </a:t>
            </a:r>
            <a:r>
              <a:rPr lang="en-US" dirty="0"/>
              <a:t>Databas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037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8356" y="6502400"/>
            <a:ext cx="2799644" cy="2709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Functional Programming</a:t>
            </a:r>
          </a:p>
        </p:txBody>
      </p:sp>
      <p:pic>
        <p:nvPicPr>
          <p:cNvPr id="20482" name="Picture 2" descr="https://devadventures.net/wp-content/uploads/2018/09/lambda-c-sharp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050" y="2506663"/>
            <a:ext cx="6943725" cy="3905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840287" y="1170793"/>
            <a:ext cx="210026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200" dirty="0" smtClean="0">
                <a:solidFill>
                  <a:srgbClr val="000000"/>
                </a:solidFill>
              </a:rPr>
              <a:t>Why?</a:t>
            </a:r>
          </a:p>
          <a:p>
            <a:endParaRPr lang="en-US" dirty="0"/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Purity</a:t>
            </a:r>
            <a:endParaRPr lang="en-US" dirty="0">
              <a:solidFill>
                <a:srgbClr val="000000"/>
              </a:solidFill>
            </a:endParaRP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Expressiveness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Parallelism</a:t>
            </a:r>
          </a:p>
          <a:p>
            <a:pPr fontAlgn="base"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Type </a:t>
            </a:r>
            <a:r>
              <a:rPr lang="en-US" dirty="0" smtClean="0">
                <a:solidFill>
                  <a:srgbClr val="000000"/>
                </a:solidFill>
              </a:rPr>
              <a:t>– safety</a:t>
            </a:r>
          </a:p>
        </p:txBody>
      </p:sp>
    </p:spTree>
    <p:extLst>
      <p:ext uri="{BB962C8B-B14F-4D97-AF65-F5344CB8AC3E}">
        <p14:creationId xmlns:p14="http://schemas.microsoft.com/office/powerpoint/2010/main" val="3058506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8356" y="6502400"/>
            <a:ext cx="2799644" cy="2709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Example application by Microsoft Team</a:t>
            </a:r>
          </a:p>
        </p:txBody>
      </p:sp>
      <p:pic>
        <p:nvPicPr>
          <p:cNvPr id="21506" name="Picture 2" descr="eshop_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132" y="1636712"/>
            <a:ext cx="5175993" cy="118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381250" y="2819400"/>
            <a:ext cx="6502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Sample .NET Core reference application, powered by Microsoft, based on a simplified </a:t>
            </a:r>
            <a:r>
              <a:rPr lang="en-US" dirty="0" err="1"/>
              <a:t>microservices</a:t>
            </a:r>
            <a:r>
              <a:rPr lang="en-US" dirty="0"/>
              <a:t> architecture and Docker contain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233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7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34144100000000010553E+00&quot;&gt;&lt;m_msothmcolidx val=&quot;0&quot;/&gt;&lt;m_rgb r=&quot;10&quot; g=&quot;6D&quot; b=&quot;25&quot;/&gt;&lt;m_nBrightness tagver0=&quot;26206&quot; tagname0=&quot;m_nBrightnessUNRECOGNIZED&quot; val=&quot;0&quot;/&gt;&lt;/elem&gt;&lt;elem m_fUsage=&quot;1.79778689999999996552E+00&quot;&gt;&lt;m_msothmcolidx val=&quot;0&quot;/&gt;&lt;m_rgb r=&quot;00&quot; g=&quot;82&quot; b=&quot;38&quot;/&gt;&lt;m_nBrightness tagver0=&quot;26206&quot; tagname0=&quot;m_nBrightnessUNRECOGNIZED&quot; val=&quot;0&quot;/&gt;&lt;/elem&gt;&lt;elem m_fUsage=&quot;1.55610000000000003872E+00&quot;&gt;&lt;m_msothmcolidx val=&quot;0&quot;/&gt;&lt;m_rgb r=&quot;63&quot; g=&quot;B7&quot; b=&quot;72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neIT Design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neIT Design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EFB1EB8862424A855A3E239CCFA735" ma:contentTypeVersion="10" ma:contentTypeDescription="Create a new document." ma:contentTypeScope="" ma:versionID="b04ad8c705f4f01171979a46e904bb72">
  <xsd:schema xmlns:xsd="http://www.w3.org/2001/XMLSchema" xmlns:xs="http://www.w3.org/2001/XMLSchema" xmlns:p="http://schemas.microsoft.com/office/2006/metadata/properties" xmlns:ns2="aecb61f7-198f-4544-a452-7f73b422b0a0" xmlns:ns3="c7a40fd0-7fa8-4c68-966c-dcee5f7cd5a1" targetNamespace="http://schemas.microsoft.com/office/2006/metadata/properties" ma:root="true" ma:fieldsID="e7831a3863e52ffd3aab169be2871121" ns2:_="" ns3:_="">
    <xsd:import namespace="aecb61f7-198f-4544-a452-7f73b422b0a0"/>
    <xsd:import namespace="c7a40fd0-7fa8-4c68-966c-dcee5f7cd5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cb61f7-198f-4544-a452-7f73b422b0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a40fd0-7fa8-4c68-966c-dcee5f7cd5a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AE1537-98F3-4BF5-8D68-9E1CAF4FEC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37F6225-2545-4765-8D90-ACB8A5900875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aecb61f7-198f-4544-a452-7f73b422b0a0"/>
    <ds:schemaRef ds:uri="http://purl.org/dc/elements/1.1/"/>
    <ds:schemaRef ds:uri="http://schemas.openxmlformats.org/package/2006/metadata/core-properties"/>
    <ds:schemaRef ds:uri="c7a40fd0-7fa8-4c68-966c-dcee5f7cd5a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D5B9865-BC63-4BC4-AB49-0A9DC33DC5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cb61f7-198f-4544-a452-7f73b422b0a0"/>
    <ds:schemaRef ds:uri="c7a40fd0-7fa8-4c68-966c-dcee5f7cd5a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</TotalTime>
  <Words>118</Words>
  <Application>Microsoft Office PowerPoint</Application>
  <PresentationFormat>Widescreen</PresentationFormat>
  <Paragraphs>29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-apple-system</vt:lpstr>
      <vt:lpstr>Arial</vt:lpstr>
      <vt:lpstr>Calibri</vt:lpstr>
      <vt:lpstr>Calibri Light</vt:lpstr>
      <vt:lpstr>Nunito Sans</vt:lpstr>
      <vt:lpstr>Nunito Sans bold</vt:lpstr>
      <vt:lpstr>Roboto</vt:lpstr>
      <vt:lpstr>Segoe UI</vt:lpstr>
      <vt:lpstr>OneIT Design Template</vt:lpstr>
      <vt:lpstr>1_OneIT Design Templat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IT PowerPoint Presentation Template</dc:title>
  <dc:creator>Loeber, Martina (Heidelberg) DEU</dc:creator>
  <cp:keywords>OneIT; Template; Microsoft PowerPoint</cp:keywords>
  <dc:description>¢Martina Löber</dc:description>
  <cp:lastModifiedBy>Yordanov, Yordan (Varna) BGR</cp:lastModifiedBy>
  <cp:revision>16</cp:revision>
  <cp:lastPrinted>2019-06-24T09:57:01Z</cp:lastPrinted>
  <dcterms:created xsi:type="dcterms:W3CDTF">2018-04-12T13:11:21Z</dcterms:created>
  <dcterms:modified xsi:type="dcterms:W3CDTF">2019-11-11T08:02:00Z</dcterms:modified>
  <cp:category>OneIT</cp:category>
  <dc:language>Eng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EFB1EB8862424A855A3E239CCFA735</vt:lpwstr>
  </property>
</Properties>
</file>